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4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Default Extension="xlsx" ContentType="application/vnd.openxmlformats-officedocument.spreadsheetml.sheet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rts/chart1.xml" ContentType="application/vnd.openxmlformats-officedocument.drawingml.chart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Override PartName="/ppt/tags/tag7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1" r:id="rId1"/>
  </p:sldMasterIdLst>
  <p:notesMasterIdLst>
    <p:notesMasterId r:id="rId11"/>
  </p:notesMasterIdLst>
  <p:sldIdLst>
    <p:sldId id="681" r:id="rId2"/>
    <p:sldId id="664" r:id="rId3"/>
    <p:sldId id="665" r:id="rId4"/>
    <p:sldId id="666" r:id="rId5"/>
    <p:sldId id="667" r:id="rId6"/>
    <p:sldId id="668" r:id="rId7"/>
    <p:sldId id="682" r:id="rId8"/>
    <p:sldId id="670" r:id="rId9"/>
    <p:sldId id="671" r:id="rId10"/>
  </p:sldIdLst>
  <p:sldSz cx="9144000" cy="6858000" type="screen4x3"/>
  <p:notesSz cx="6761163" cy="9942513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FFCCFF"/>
    <a:srgbClr val="FFFF99"/>
    <a:srgbClr val="99CCFF"/>
    <a:srgbClr val="6699FF"/>
    <a:srgbClr val="FFFF00"/>
    <a:srgbClr val="99FF99"/>
    <a:srgbClr val="66FF66"/>
    <a:srgbClr val="FF9999"/>
    <a:srgbClr val="FF5050"/>
    <a:srgbClr val="FFFF66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DA37D80-6434-44D0-A028-1B22A696006F}" styleName="Светлый стиль 3 -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A107856-5554-42FB-B03E-39F5DBC370BA}" styleName="Средний стиль 4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72833802-FEF1-4C79-8D5D-14CF1EAF98D9}" styleName="Светлый стиль 2 -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68D230F3-CF80-4859-8CE7-A43EE81993B5}" styleName="Светлый стиль 1 -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669" autoAdjust="0"/>
    <p:restoredTop sz="98315" autoAdjust="0"/>
  </p:normalViewPr>
  <p:slideViewPr>
    <p:cSldViewPr>
      <p:cViewPr>
        <p:scale>
          <a:sx n="90" d="100"/>
          <a:sy n="90" d="100"/>
        </p:scale>
        <p:origin x="-58" y="226"/>
      </p:cViewPr>
      <p:guideLst>
        <p:guide orient="horz" pos="1620"/>
        <p:guide orient="horz" pos="2161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368685763" cy="368685763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Microsoft_Office_Excel_2007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view3D>
      <c:rotX val="30"/>
      <c:rotY val="120"/>
      <c:perspective val="20"/>
    </c:view3D>
    <c:plotArea>
      <c:layout>
        <c:manualLayout>
          <c:layoutTarget val="inner"/>
          <c:xMode val="edge"/>
          <c:yMode val="edge"/>
          <c:x val="0"/>
          <c:y val="3.7037037037036982E-3"/>
          <c:w val="0.68312442129629625"/>
          <c:h val="0.99629629629629635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rgbClr val="CCFF99"/>
            </a:solidFill>
          </c:spPr>
          <c:explosion val="25"/>
          <c:dPt>
            <c:idx val="0"/>
            <c:explosion val="8"/>
            <c:spPr>
              <a:solidFill>
                <a:srgbClr val="99CCFF"/>
              </a:solidFill>
            </c:spPr>
          </c:dPt>
          <c:dPt>
            <c:idx val="1"/>
            <c:spPr>
              <a:solidFill>
                <a:srgbClr val="FFCCFF"/>
              </a:solidFill>
            </c:spPr>
          </c:dPt>
          <c:dLbls>
            <c:dLbl>
              <c:idx val="0"/>
              <c:layout>
                <c:manualLayout>
                  <c:x val="0.41064403986538722"/>
                  <c:y val="-0.38448884365644787"/>
                </c:manualLayout>
              </c:layout>
              <c:tx>
                <c:rich>
                  <a:bodyPr/>
                  <a:lstStyle/>
                  <a:p>
                    <a:r>
                      <a:rPr lang="ru-RU" sz="3200" smtClean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rPr>
                      <a:t>1/3</a:t>
                    </a:r>
                    <a:endParaRPr lang="en-US">
                      <a:solidFill>
                        <a:srgbClr val="FF5050"/>
                      </a:solidFill>
                    </a:endParaRPr>
                  </a:p>
                </c:rich>
              </c:tx>
              <c:showVal val="1"/>
              <c:showCatName val="1"/>
            </c:dLbl>
            <c:dLbl>
              <c:idx val="1"/>
              <c:layout>
                <c:manualLayout>
                  <c:x val="-0.4166490762728734"/>
                  <c:y val="6.3803929270745921E-2"/>
                </c:manualLayout>
              </c:layout>
              <c:tx>
                <c:rich>
                  <a:bodyPr/>
                  <a:lstStyle/>
                  <a:p>
                    <a:r>
                      <a:rPr lang="ru-RU" sz="3200" smtClean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</a:rPr>
                      <a:t>2/3</a:t>
                    </a:r>
                    <a:endParaRPr lang="en-US"/>
                  </a:p>
                </c:rich>
              </c:tx>
              <c:showVal val="1"/>
              <c:showCatName val="1"/>
            </c:dLbl>
            <c:txPr>
              <a:bodyPr/>
              <a:lstStyle/>
              <a:p>
                <a:pPr>
                  <a:defRPr sz="3200">
                    <a:solidFill>
                      <a:schemeClr val="tx1">
                        <a:lumMod val="95000"/>
                        <a:lumOff val="5000"/>
                      </a:schemeClr>
                    </a:solidFill>
                  </a:defRPr>
                </a:pPr>
                <a:endParaRPr lang="ru-RU"/>
              </a:p>
            </c:txPr>
            <c:showVal val="1"/>
            <c:showCatName val="1"/>
            <c:showLeaderLines val="1"/>
          </c:dLbls>
          <c:cat>
            <c:strRef>
              <c:f>Лист1!$A$2:$A$3</c:f>
              <c:strCache>
                <c:ptCount val="2"/>
                <c:pt idx="0">
                  <c:v>Софинансирование мероприятий по благоустройству дворовых территорий</c:v>
                </c:pt>
                <c:pt idx="1">
                  <c:v>Софинансирование мероприятий по благоустройству наиболее посещаемой муниципальной территории общего пользован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2</c:v>
                </c:pt>
                <c:pt idx="1">
                  <c:v>1</c:v>
                </c:pt>
              </c:numCache>
            </c:numRef>
          </c:val>
        </c:ser>
        <c:dLbls>
          <c:showVal val="1"/>
          <c:showCatName val="1"/>
        </c:dLbls>
      </c:pie3DChart>
    </c:plotArea>
    <c:legend>
      <c:legendPos val="r"/>
      <c:layout/>
      <c:txPr>
        <a:bodyPr/>
        <a:lstStyle/>
        <a:p>
          <a:pPr>
            <a:defRPr sz="2000"/>
          </a:pPr>
          <a:endParaRPr lang="ru-RU"/>
        </a:p>
      </c:txPr>
    </c:legend>
    <c:plotVisOnly val="1"/>
    <c:dispBlanksAs val="zero"/>
  </c:chart>
  <c:txPr>
    <a:bodyPr/>
    <a:lstStyle/>
    <a:p>
      <a:pPr>
        <a:defRPr sz="1800"/>
      </a:pPr>
      <a:endParaRPr lang="ru-RU"/>
    </a:p>
  </c:txPr>
  <c:externalData r:id="rId1"/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3052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29050" y="0"/>
            <a:ext cx="293052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E8EE882A-5190-4F08-B978-1EF1449DD20F}" type="datetimeFigureOut">
              <a:rPr lang="ru-RU"/>
              <a:pPr>
                <a:defRPr/>
              </a:pPr>
              <a:t>13.03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895350" y="746125"/>
            <a:ext cx="4970463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6275" y="4722813"/>
            <a:ext cx="5408613" cy="44735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4038"/>
            <a:ext cx="293052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29050" y="9444038"/>
            <a:ext cx="293052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D246EBD7-F348-4CEF-8A59-0CD8F82453C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9689323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15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jpeg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2" hidden="1"/>
          <p:cNvGraphicFramePr>
            <a:graphicFrameLocks/>
          </p:cNvGraphicFramePr>
          <p:nvPr/>
        </p:nvGraphicFramePr>
        <p:xfrm>
          <a:off x="4763" y="0"/>
          <a:ext cx="149225" cy="158750"/>
        </p:xfrm>
        <a:graphic>
          <a:graphicData uri="http://schemas.openxmlformats.org/presentationml/2006/ole">
            <p:oleObj spid="_x0000_s43172" name="think-cell Slide" r:id="rId3" imgW="0" imgH="0" progId="">
              <p:embed/>
            </p:oleObj>
          </a:graphicData>
        </a:graphic>
      </p:graphicFrame>
    </p:spTree>
    <p:extLst>
      <p:ext uri="{BB962C8B-B14F-4D97-AF65-F5344CB8AC3E}">
        <p14:creationId xmlns:p14="http://schemas.microsoft.com/office/powerpoint/2010/main" xmlns="" val="15807279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5" hidden="1"/>
          <p:cNvGraphicFramePr>
            <a:graphicFrameLocks/>
          </p:cNvGraphicFramePr>
          <p:nvPr/>
        </p:nvGraphicFramePr>
        <p:xfrm>
          <a:off x="4763" y="0"/>
          <a:ext cx="149225" cy="158750"/>
        </p:xfrm>
        <a:graphic>
          <a:graphicData uri="http://schemas.openxmlformats.org/presentationml/2006/ole">
            <p:oleObj spid="_x0000_s52388" name="think-cell Slide" r:id="rId4" imgW="0" imgH="0" progId="">
              <p:embed/>
            </p:oleObj>
          </a:graphicData>
        </a:graphic>
      </p:graphicFrame>
      <p:grpSp>
        <p:nvGrpSpPr>
          <p:cNvPr id="6" name="Группа 8"/>
          <p:cNvGrpSpPr>
            <a:grpSpLocks/>
          </p:cNvGrpSpPr>
          <p:nvPr userDrawn="1"/>
        </p:nvGrpSpPr>
        <p:grpSpPr bwMode="auto">
          <a:xfrm>
            <a:off x="-15875" y="73025"/>
            <a:ext cx="9175750" cy="1109663"/>
            <a:chOff x="-16850" y="72801"/>
            <a:chExt cx="9756000" cy="1107059"/>
          </a:xfrm>
        </p:grpSpPr>
        <p:grpSp>
          <p:nvGrpSpPr>
            <p:cNvPr id="7" name="Группа 9"/>
            <p:cNvGrpSpPr>
              <a:grpSpLocks/>
            </p:cNvGrpSpPr>
            <p:nvPr/>
          </p:nvGrpSpPr>
          <p:grpSpPr bwMode="auto">
            <a:xfrm>
              <a:off x="267351" y="72801"/>
              <a:ext cx="3097974" cy="829518"/>
              <a:chOff x="267351" y="72801"/>
              <a:chExt cx="3097974" cy="829518"/>
            </a:xfrm>
          </p:grpSpPr>
          <p:sp>
            <p:nvSpPr>
              <p:cNvPr id="9" name="TextBox 11"/>
              <p:cNvSpPr txBox="1">
                <a:spLocks noChangeArrowheads="1"/>
              </p:cNvSpPr>
              <p:nvPr/>
            </p:nvSpPr>
            <p:spPr bwMode="auto">
              <a:xfrm>
                <a:off x="992508" y="256519"/>
                <a:ext cx="2373172" cy="64618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>
                  <a:defRPr/>
                </a:pPr>
                <a:r>
                  <a:rPr lang="ru-RU" altLang="ru-RU" sz="1200" b="1" smtClean="0">
                    <a:solidFill>
                      <a:srgbClr val="000000"/>
                    </a:solidFill>
                  </a:rPr>
                  <a:t>Департамент ЖКХ, энергетики и регулирования тарифов</a:t>
                </a:r>
              </a:p>
              <a:p>
                <a:pPr>
                  <a:defRPr/>
                </a:pPr>
                <a:r>
                  <a:rPr lang="ru-RU" altLang="ru-RU" sz="1200" b="1" smtClean="0">
                    <a:solidFill>
                      <a:srgbClr val="000000"/>
                    </a:solidFill>
                  </a:rPr>
                  <a:t>Ярославской области</a:t>
                </a:r>
              </a:p>
            </p:txBody>
          </p:sp>
          <p:pic>
            <p:nvPicPr>
              <p:cNvPr id="10" name="Рисунок 6" descr="gerb1.jpg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7351" y="72801"/>
                <a:ext cx="464491" cy="828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cxnSp>
          <p:nvCxnSpPr>
            <p:cNvPr id="8" name="Прямая соединительная линия 7"/>
            <p:cNvCxnSpPr/>
            <p:nvPr/>
          </p:nvCxnSpPr>
          <p:spPr>
            <a:xfrm>
              <a:off x="-16850" y="1179860"/>
              <a:ext cx="9756000" cy="0"/>
            </a:xfrm>
            <a:prstGeom prst="line">
              <a:avLst/>
            </a:prstGeom>
            <a:ln w="317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85757" y="4980932"/>
            <a:ext cx="5160298" cy="40011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685757" y="614339"/>
            <a:ext cx="5160298" cy="4125304"/>
          </a:xfrm>
          <a:prstGeom prst="rect">
            <a:avLst/>
          </a:prstGeom>
        </p:spPr>
        <p:txBody>
          <a:bodyPr lIns="91440" tIns="45720" rIns="91440" bIns="45720"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685757" y="5381042"/>
            <a:ext cx="5160298" cy="2881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10"/>
            <p:custDataLst>
              <p:tags r:id="rId2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DB54F8C2-CCCA-4361-BBDA-40C64D8527D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1837031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5" hidden="1"/>
          <p:cNvGraphicFramePr>
            <a:graphicFrameLocks/>
          </p:cNvGraphicFramePr>
          <p:nvPr/>
        </p:nvGraphicFramePr>
        <p:xfrm>
          <a:off x="4763" y="0"/>
          <a:ext cx="149225" cy="158750"/>
        </p:xfrm>
        <a:graphic>
          <a:graphicData uri="http://schemas.openxmlformats.org/presentationml/2006/ole">
            <p:oleObj spid="_x0000_s53412" name="think-cell Slide" r:id="rId4" imgW="0" imgH="0" progId="">
              <p:embed/>
            </p:oleObj>
          </a:graphicData>
        </a:graphic>
      </p:graphicFrame>
      <p:grpSp>
        <p:nvGrpSpPr>
          <p:cNvPr id="5" name="Группа 8"/>
          <p:cNvGrpSpPr>
            <a:grpSpLocks/>
          </p:cNvGrpSpPr>
          <p:nvPr userDrawn="1"/>
        </p:nvGrpSpPr>
        <p:grpSpPr bwMode="auto">
          <a:xfrm>
            <a:off x="-15875" y="73025"/>
            <a:ext cx="9175750" cy="1109663"/>
            <a:chOff x="-16850" y="72801"/>
            <a:chExt cx="9756000" cy="1107059"/>
          </a:xfrm>
        </p:grpSpPr>
        <p:grpSp>
          <p:nvGrpSpPr>
            <p:cNvPr id="6" name="Группа 9"/>
            <p:cNvGrpSpPr>
              <a:grpSpLocks/>
            </p:cNvGrpSpPr>
            <p:nvPr/>
          </p:nvGrpSpPr>
          <p:grpSpPr bwMode="auto">
            <a:xfrm>
              <a:off x="267351" y="72801"/>
              <a:ext cx="3097974" cy="829518"/>
              <a:chOff x="267351" y="72801"/>
              <a:chExt cx="3097974" cy="829518"/>
            </a:xfrm>
          </p:grpSpPr>
          <p:sp>
            <p:nvSpPr>
              <p:cNvPr id="8" name="TextBox 11"/>
              <p:cNvSpPr txBox="1">
                <a:spLocks noChangeArrowheads="1"/>
              </p:cNvSpPr>
              <p:nvPr/>
            </p:nvSpPr>
            <p:spPr bwMode="auto">
              <a:xfrm>
                <a:off x="992508" y="256519"/>
                <a:ext cx="2373172" cy="64618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>
                  <a:defRPr/>
                </a:pPr>
                <a:r>
                  <a:rPr lang="ru-RU" altLang="ru-RU" sz="1200" b="1" smtClean="0">
                    <a:solidFill>
                      <a:srgbClr val="000000"/>
                    </a:solidFill>
                  </a:rPr>
                  <a:t>Департамент ЖКХ, энергетики и регулирования тарифов</a:t>
                </a:r>
              </a:p>
              <a:p>
                <a:pPr>
                  <a:defRPr/>
                </a:pPr>
                <a:r>
                  <a:rPr lang="ru-RU" altLang="ru-RU" sz="1200" b="1" smtClean="0">
                    <a:solidFill>
                      <a:srgbClr val="000000"/>
                    </a:solidFill>
                  </a:rPr>
                  <a:t>Ярославской области</a:t>
                </a:r>
              </a:p>
            </p:txBody>
          </p:sp>
          <p:pic>
            <p:nvPicPr>
              <p:cNvPr id="9" name="Рисунок 6" descr="gerb1.jpg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7351" y="72801"/>
                <a:ext cx="464491" cy="828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cxnSp>
          <p:nvCxnSpPr>
            <p:cNvPr id="7" name="Прямая соединительная линия 6"/>
            <p:cNvCxnSpPr/>
            <p:nvPr/>
          </p:nvCxnSpPr>
          <p:spPr>
            <a:xfrm>
              <a:off x="-16850" y="1179860"/>
              <a:ext cx="9756000" cy="0"/>
            </a:xfrm>
            <a:prstGeom prst="line">
              <a:avLst/>
            </a:prstGeom>
            <a:ln w="317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42905" y="97086"/>
            <a:ext cx="6299565" cy="370275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-8971568" y="1196848"/>
            <a:ext cx="17997610" cy="31831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0"/>
            <p:custDataLst>
              <p:tags r:id="rId2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F6D121E2-8462-4187-B398-1E18A7C16E3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4701467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5" hidden="1"/>
          <p:cNvGraphicFramePr>
            <a:graphicFrameLocks/>
          </p:cNvGraphicFramePr>
          <p:nvPr/>
        </p:nvGraphicFramePr>
        <p:xfrm>
          <a:off x="4763" y="0"/>
          <a:ext cx="149225" cy="158750"/>
        </p:xfrm>
        <a:graphic>
          <a:graphicData uri="http://schemas.openxmlformats.org/presentationml/2006/ole">
            <p:oleObj spid="_x0000_s54436" name="think-cell Slide" r:id="rId4" imgW="0" imgH="0" progId="">
              <p:embed/>
            </p:oleObj>
          </a:graphicData>
        </a:graphic>
      </p:graphicFrame>
      <p:grpSp>
        <p:nvGrpSpPr>
          <p:cNvPr id="5" name="Группа 8"/>
          <p:cNvGrpSpPr>
            <a:grpSpLocks/>
          </p:cNvGrpSpPr>
          <p:nvPr userDrawn="1"/>
        </p:nvGrpSpPr>
        <p:grpSpPr bwMode="auto">
          <a:xfrm>
            <a:off x="-15875" y="73025"/>
            <a:ext cx="9175750" cy="1109663"/>
            <a:chOff x="-16850" y="72801"/>
            <a:chExt cx="9756000" cy="1107059"/>
          </a:xfrm>
        </p:grpSpPr>
        <p:grpSp>
          <p:nvGrpSpPr>
            <p:cNvPr id="6" name="Группа 9"/>
            <p:cNvGrpSpPr>
              <a:grpSpLocks/>
            </p:cNvGrpSpPr>
            <p:nvPr/>
          </p:nvGrpSpPr>
          <p:grpSpPr bwMode="auto">
            <a:xfrm>
              <a:off x="267351" y="72801"/>
              <a:ext cx="3097974" cy="829518"/>
              <a:chOff x="267351" y="72801"/>
              <a:chExt cx="3097974" cy="829518"/>
            </a:xfrm>
          </p:grpSpPr>
          <p:sp>
            <p:nvSpPr>
              <p:cNvPr id="8" name="TextBox 11"/>
              <p:cNvSpPr txBox="1">
                <a:spLocks noChangeArrowheads="1"/>
              </p:cNvSpPr>
              <p:nvPr/>
            </p:nvSpPr>
            <p:spPr bwMode="auto">
              <a:xfrm>
                <a:off x="992508" y="256519"/>
                <a:ext cx="2373172" cy="64618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>
                  <a:defRPr/>
                </a:pPr>
                <a:r>
                  <a:rPr lang="ru-RU" altLang="ru-RU" sz="1200" b="1" smtClean="0">
                    <a:solidFill>
                      <a:srgbClr val="000000"/>
                    </a:solidFill>
                  </a:rPr>
                  <a:t>Департамент ЖКХ, энергетики и регулирования тарифов</a:t>
                </a:r>
              </a:p>
              <a:p>
                <a:pPr>
                  <a:defRPr/>
                </a:pPr>
                <a:r>
                  <a:rPr lang="ru-RU" altLang="ru-RU" sz="1200" b="1" smtClean="0">
                    <a:solidFill>
                      <a:srgbClr val="000000"/>
                    </a:solidFill>
                  </a:rPr>
                  <a:t>Ярославской области</a:t>
                </a:r>
              </a:p>
            </p:txBody>
          </p:sp>
          <p:pic>
            <p:nvPicPr>
              <p:cNvPr id="9" name="Рисунок 6" descr="gerb1.jpg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7351" y="72801"/>
                <a:ext cx="464491" cy="828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cxnSp>
          <p:nvCxnSpPr>
            <p:cNvPr id="7" name="Прямая соединительная линия 6"/>
            <p:cNvCxnSpPr/>
            <p:nvPr/>
          </p:nvCxnSpPr>
          <p:spPr>
            <a:xfrm>
              <a:off x="-16850" y="1179860"/>
              <a:ext cx="9756000" cy="0"/>
            </a:xfrm>
            <a:prstGeom prst="line">
              <a:avLst/>
            </a:prstGeom>
            <a:ln w="317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708810" y="275343"/>
            <a:ext cx="461665" cy="5866462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91232" y="275343"/>
            <a:ext cx="1500786" cy="586646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0"/>
            <p:custDataLst>
              <p:tags r:id="rId2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AE1CBF1B-0343-4FEC-8266-BC8D58F09B1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494667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5" hidden="1"/>
          <p:cNvGraphicFramePr>
            <a:graphicFrameLocks/>
          </p:cNvGraphicFramePr>
          <p:nvPr/>
        </p:nvGraphicFramePr>
        <p:xfrm>
          <a:off x="4763" y="0"/>
          <a:ext cx="149225" cy="158750"/>
        </p:xfrm>
        <a:graphic>
          <a:graphicData uri="http://schemas.openxmlformats.org/presentationml/2006/ole">
            <p:oleObj spid="_x0000_s55460" name="think-cell Slide" r:id="rId4" imgW="0" imgH="0" progId="">
              <p:embed/>
            </p:oleObj>
          </a:graphicData>
        </a:graphic>
      </p:graphicFrame>
      <p:grpSp>
        <p:nvGrpSpPr>
          <p:cNvPr id="5" name="Группа 8"/>
          <p:cNvGrpSpPr>
            <a:grpSpLocks/>
          </p:cNvGrpSpPr>
          <p:nvPr userDrawn="1"/>
        </p:nvGrpSpPr>
        <p:grpSpPr bwMode="auto">
          <a:xfrm>
            <a:off x="-15875" y="73025"/>
            <a:ext cx="9175750" cy="1109663"/>
            <a:chOff x="-16850" y="72801"/>
            <a:chExt cx="9756000" cy="1107059"/>
          </a:xfrm>
        </p:grpSpPr>
        <p:grpSp>
          <p:nvGrpSpPr>
            <p:cNvPr id="6" name="Группа 9"/>
            <p:cNvGrpSpPr>
              <a:grpSpLocks/>
            </p:cNvGrpSpPr>
            <p:nvPr/>
          </p:nvGrpSpPr>
          <p:grpSpPr bwMode="auto">
            <a:xfrm>
              <a:off x="267351" y="72801"/>
              <a:ext cx="3097974" cy="829518"/>
              <a:chOff x="267351" y="72801"/>
              <a:chExt cx="3097974" cy="829518"/>
            </a:xfrm>
          </p:grpSpPr>
          <p:sp>
            <p:nvSpPr>
              <p:cNvPr id="8" name="TextBox 11"/>
              <p:cNvSpPr txBox="1">
                <a:spLocks noChangeArrowheads="1"/>
              </p:cNvSpPr>
              <p:nvPr/>
            </p:nvSpPr>
            <p:spPr bwMode="auto">
              <a:xfrm>
                <a:off x="992508" y="256519"/>
                <a:ext cx="2373172" cy="64618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>
                  <a:defRPr/>
                </a:pPr>
                <a:r>
                  <a:rPr lang="ru-RU" altLang="ru-RU" sz="1200" b="1" smtClean="0">
                    <a:solidFill>
                      <a:srgbClr val="000000"/>
                    </a:solidFill>
                  </a:rPr>
                  <a:t>Департамент ЖКХ, энергетики и регулирования тарифов</a:t>
                </a:r>
              </a:p>
              <a:p>
                <a:pPr>
                  <a:defRPr/>
                </a:pPr>
                <a:r>
                  <a:rPr lang="ru-RU" altLang="ru-RU" sz="1200" b="1" smtClean="0">
                    <a:solidFill>
                      <a:srgbClr val="000000"/>
                    </a:solidFill>
                  </a:rPr>
                  <a:t>Ярославской области</a:t>
                </a:r>
              </a:p>
            </p:txBody>
          </p:sp>
          <p:pic>
            <p:nvPicPr>
              <p:cNvPr id="9" name="Рисунок 6" descr="gerb1.jpg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7351" y="72801"/>
                <a:ext cx="464491" cy="828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cxnSp>
          <p:nvCxnSpPr>
            <p:cNvPr id="7" name="Прямая соединительная линия 6"/>
            <p:cNvCxnSpPr/>
            <p:nvPr/>
          </p:nvCxnSpPr>
          <p:spPr>
            <a:xfrm>
              <a:off x="-16850" y="1179860"/>
              <a:ext cx="9756000" cy="0"/>
            </a:xfrm>
            <a:prstGeom prst="line">
              <a:avLst/>
            </a:prstGeom>
            <a:ln w="317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42905" y="97086"/>
            <a:ext cx="6299565" cy="370275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119451" y="1196848"/>
            <a:ext cx="8906591" cy="318310"/>
          </a:xfrm>
          <a:prstGeom prst="rect">
            <a:avLst/>
          </a:prstGeo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0"/>
            <p:custDataLst>
              <p:tags r:id="rId2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348F962D-57CA-40FF-A3BE-04F72271F61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67188479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15" hidden="1"/>
          <p:cNvGraphicFramePr>
            <a:graphicFrameLocks/>
          </p:cNvGraphicFramePr>
          <p:nvPr/>
        </p:nvGraphicFramePr>
        <p:xfrm>
          <a:off x="4763" y="0"/>
          <a:ext cx="149225" cy="158750"/>
        </p:xfrm>
        <a:graphic>
          <a:graphicData uri="http://schemas.openxmlformats.org/presentationml/2006/ole">
            <p:oleObj spid="_x0000_s56484" name="think-cell Slide" r:id="rId4" imgW="0" imgH="0" progId="">
              <p:embed/>
            </p:oleObj>
          </a:graphicData>
        </a:graphic>
      </p:graphicFrame>
      <p:grpSp>
        <p:nvGrpSpPr>
          <p:cNvPr id="3" name="Группа 8"/>
          <p:cNvGrpSpPr>
            <a:grpSpLocks/>
          </p:cNvGrpSpPr>
          <p:nvPr userDrawn="1"/>
        </p:nvGrpSpPr>
        <p:grpSpPr bwMode="auto">
          <a:xfrm>
            <a:off x="-15875" y="73025"/>
            <a:ext cx="9175750" cy="1109663"/>
            <a:chOff x="-16850" y="72801"/>
            <a:chExt cx="9756000" cy="1107059"/>
          </a:xfrm>
        </p:grpSpPr>
        <p:grpSp>
          <p:nvGrpSpPr>
            <p:cNvPr id="4" name="Группа 9"/>
            <p:cNvGrpSpPr>
              <a:grpSpLocks/>
            </p:cNvGrpSpPr>
            <p:nvPr/>
          </p:nvGrpSpPr>
          <p:grpSpPr bwMode="auto">
            <a:xfrm>
              <a:off x="267351" y="72801"/>
              <a:ext cx="3097974" cy="829518"/>
              <a:chOff x="267351" y="72801"/>
              <a:chExt cx="3097974" cy="829518"/>
            </a:xfrm>
          </p:grpSpPr>
          <p:sp>
            <p:nvSpPr>
              <p:cNvPr id="6" name="TextBox 11"/>
              <p:cNvSpPr txBox="1">
                <a:spLocks noChangeArrowheads="1"/>
              </p:cNvSpPr>
              <p:nvPr/>
            </p:nvSpPr>
            <p:spPr bwMode="auto">
              <a:xfrm>
                <a:off x="992508" y="256519"/>
                <a:ext cx="2373172" cy="64618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>
                  <a:defRPr/>
                </a:pPr>
                <a:r>
                  <a:rPr lang="ru-RU" altLang="ru-RU" sz="1200" b="1" smtClean="0">
                    <a:solidFill>
                      <a:srgbClr val="000000"/>
                    </a:solidFill>
                  </a:rPr>
                  <a:t>Департамент ЖКХ, энергетики и регулирования тарифов</a:t>
                </a:r>
              </a:p>
              <a:p>
                <a:pPr>
                  <a:defRPr/>
                </a:pPr>
                <a:r>
                  <a:rPr lang="ru-RU" altLang="ru-RU" sz="1200" b="1" smtClean="0">
                    <a:solidFill>
                      <a:srgbClr val="000000"/>
                    </a:solidFill>
                  </a:rPr>
                  <a:t>Ярославской области</a:t>
                </a:r>
              </a:p>
            </p:txBody>
          </p:sp>
          <p:pic>
            <p:nvPicPr>
              <p:cNvPr id="7" name="Рисунок 14" descr="gerb1.jpg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7351" y="72801"/>
                <a:ext cx="464491" cy="828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cxnSp>
          <p:nvCxnSpPr>
            <p:cNvPr id="5" name="Прямая соединительная линия 4"/>
            <p:cNvCxnSpPr/>
            <p:nvPr/>
          </p:nvCxnSpPr>
          <p:spPr>
            <a:xfrm>
              <a:off x="-16850" y="1179860"/>
              <a:ext cx="9756000" cy="0"/>
            </a:xfrm>
            <a:prstGeom prst="line">
              <a:avLst/>
            </a:prstGeom>
            <a:ln w="317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Номер слайда 5"/>
          <p:cNvSpPr>
            <a:spLocks noGrp="1"/>
          </p:cNvSpPr>
          <p:nvPr>
            <p:ph type="sldNum" sz="quarter" idx="10"/>
            <p:custDataLst>
              <p:tags r:id="rId2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08B2AAB3-4156-49DD-AD4A-FD789BB791C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8642861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15" hidden="1"/>
          <p:cNvGraphicFramePr>
            <a:graphicFrameLocks/>
          </p:cNvGraphicFramePr>
          <p:nvPr/>
        </p:nvGraphicFramePr>
        <p:xfrm>
          <a:off x="4763" y="0"/>
          <a:ext cx="149225" cy="158750"/>
        </p:xfrm>
        <a:graphic>
          <a:graphicData uri="http://schemas.openxmlformats.org/presentationml/2006/ole">
            <p:oleObj spid="_x0000_s44196" name="think-cell Slide" r:id="rId4" imgW="0" imgH="0" progId="">
              <p:embed/>
            </p:oleObj>
          </a:graphicData>
        </a:graphic>
      </p:graphicFrame>
      <p:grpSp>
        <p:nvGrpSpPr>
          <p:cNvPr id="3" name="Группа 8"/>
          <p:cNvGrpSpPr>
            <a:grpSpLocks/>
          </p:cNvGrpSpPr>
          <p:nvPr userDrawn="1"/>
        </p:nvGrpSpPr>
        <p:grpSpPr bwMode="auto">
          <a:xfrm>
            <a:off x="-15875" y="73025"/>
            <a:ext cx="9175750" cy="1109663"/>
            <a:chOff x="-16850" y="72801"/>
            <a:chExt cx="9756000" cy="1107059"/>
          </a:xfrm>
        </p:grpSpPr>
        <p:grpSp>
          <p:nvGrpSpPr>
            <p:cNvPr id="4" name="Группа 9"/>
            <p:cNvGrpSpPr>
              <a:grpSpLocks/>
            </p:cNvGrpSpPr>
            <p:nvPr/>
          </p:nvGrpSpPr>
          <p:grpSpPr bwMode="auto">
            <a:xfrm>
              <a:off x="267351" y="72801"/>
              <a:ext cx="3097974" cy="829518"/>
              <a:chOff x="267351" y="72801"/>
              <a:chExt cx="3097974" cy="829518"/>
            </a:xfrm>
          </p:grpSpPr>
          <p:sp>
            <p:nvSpPr>
              <p:cNvPr id="6" name="TextBox 11"/>
              <p:cNvSpPr txBox="1">
                <a:spLocks noChangeArrowheads="1"/>
              </p:cNvSpPr>
              <p:nvPr/>
            </p:nvSpPr>
            <p:spPr bwMode="auto">
              <a:xfrm>
                <a:off x="992508" y="256519"/>
                <a:ext cx="2373172" cy="64618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>
                  <a:defRPr/>
                </a:pPr>
                <a:r>
                  <a:rPr lang="ru-RU" altLang="ru-RU" sz="1200" b="1" smtClean="0">
                    <a:solidFill>
                      <a:srgbClr val="000000"/>
                    </a:solidFill>
                  </a:rPr>
                  <a:t>Департамент ЖКХ, энергетики и регулирования тарифов</a:t>
                </a:r>
              </a:p>
              <a:p>
                <a:pPr>
                  <a:defRPr/>
                </a:pPr>
                <a:r>
                  <a:rPr lang="ru-RU" altLang="ru-RU" sz="1200" b="1" smtClean="0">
                    <a:solidFill>
                      <a:srgbClr val="000000"/>
                    </a:solidFill>
                  </a:rPr>
                  <a:t>Ярославской области</a:t>
                </a:r>
              </a:p>
            </p:txBody>
          </p:sp>
          <p:pic>
            <p:nvPicPr>
              <p:cNvPr id="7" name="Рисунок 14" descr="gerb1.jpg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7351" y="72801"/>
                <a:ext cx="464491" cy="828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cxnSp>
          <p:nvCxnSpPr>
            <p:cNvPr id="5" name="Прямая соединительная линия 4"/>
            <p:cNvCxnSpPr/>
            <p:nvPr/>
          </p:nvCxnSpPr>
          <p:spPr>
            <a:xfrm>
              <a:off x="-16850" y="1179860"/>
              <a:ext cx="9756000" cy="0"/>
            </a:xfrm>
            <a:prstGeom prst="line">
              <a:avLst/>
            </a:prstGeom>
            <a:ln w="317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Номер слайда 5"/>
          <p:cNvSpPr>
            <a:spLocks noGrp="1"/>
          </p:cNvSpPr>
          <p:nvPr>
            <p:ph type="sldNum" sz="quarter" idx="10"/>
            <p:custDataLst>
              <p:tags r:id="rId2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5D1C3BA1-73CA-4977-9CB5-E2395BB8E20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23002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5" hidden="1"/>
          <p:cNvGraphicFramePr>
            <a:graphicFrameLocks/>
          </p:cNvGraphicFramePr>
          <p:nvPr/>
        </p:nvGraphicFramePr>
        <p:xfrm>
          <a:off x="4763" y="0"/>
          <a:ext cx="149225" cy="158750"/>
        </p:xfrm>
        <a:graphic>
          <a:graphicData uri="http://schemas.openxmlformats.org/presentationml/2006/ole">
            <p:oleObj spid="_x0000_s45220" name="think-cell Slide" r:id="rId4" imgW="0" imgH="0" progId="">
              <p:embed/>
            </p:oleObj>
          </a:graphicData>
        </a:graphic>
      </p:graphicFrame>
      <p:grpSp>
        <p:nvGrpSpPr>
          <p:cNvPr id="5" name="Группа 8"/>
          <p:cNvGrpSpPr>
            <a:grpSpLocks/>
          </p:cNvGrpSpPr>
          <p:nvPr userDrawn="1"/>
        </p:nvGrpSpPr>
        <p:grpSpPr bwMode="auto">
          <a:xfrm>
            <a:off x="-15875" y="73025"/>
            <a:ext cx="9175750" cy="1109663"/>
            <a:chOff x="-16850" y="72801"/>
            <a:chExt cx="9756000" cy="1107059"/>
          </a:xfrm>
        </p:grpSpPr>
        <p:grpSp>
          <p:nvGrpSpPr>
            <p:cNvPr id="6" name="Группа 9"/>
            <p:cNvGrpSpPr>
              <a:grpSpLocks/>
            </p:cNvGrpSpPr>
            <p:nvPr/>
          </p:nvGrpSpPr>
          <p:grpSpPr bwMode="auto">
            <a:xfrm>
              <a:off x="267351" y="72801"/>
              <a:ext cx="3097974" cy="829518"/>
              <a:chOff x="267351" y="72801"/>
              <a:chExt cx="3097974" cy="829518"/>
            </a:xfrm>
          </p:grpSpPr>
          <p:sp>
            <p:nvSpPr>
              <p:cNvPr id="8" name="TextBox 11"/>
              <p:cNvSpPr txBox="1">
                <a:spLocks noChangeArrowheads="1"/>
              </p:cNvSpPr>
              <p:nvPr/>
            </p:nvSpPr>
            <p:spPr bwMode="auto">
              <a:xfrm>
                <a:off x="992508" y="256519"/>
                <a:ext cx="2373172" cy="64618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>
                  <a:defRPr/>
                </a:pPr>
                <a:r>
                  <a:rPr lang="ru-RU" altLang="ru-RU" sz="1200" b="1" smtClean="0">
                    <a:solidFill>
                      <a:srgbClr val="000000"/>
                    </a:solidFill>
                  </a:rPr>
                  <a:t>Департамент ЖКХ, энергетики и регулирования тарифов</a:t>
                </a:r>
              </a:p>
              <a:p>
                <a:pPr>
                  <a:defRPr/>
                </a:pPr>
                <a:r>
                  <a:rPr lang="ru-RU" altLang="ru-RU" sz="1200" b="1" smtClean="0">
                    <a:solidFill>
                      <a:srgbClr val="000000"/>
                    </a:solidFill>
                  </a:rPr>
                  <a:t>Ярославской области</a:t>
                </a:r>
              </a:p>
            </p:txBody>
          </p:sp>
          <p:pic>
            <p:nvPicPr>
              <p:cNvPr id="9" name="Рисунок 6" descr="gerb1.jpg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7351" y="72801"/>
                <a:ext cx="464491" cy="828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cxnSp>
          <p:nvCxnSpPr>
            <p:cNvPr id="7" name="Прямая соединительная линия 6"/>
            <p:cNvCxnSpPr/>
            <p:nvPr/>
          </p:nvCxnSpPr>
          <p:spPr>
            <a:xfrm>
              <a:off x="-16850" y="1179860"/>
              <a:ext cx="9756000" cy="0"/>
            </a:xfrm>
            <a:prstGeom prst="line">
              <a:avLst/>
            </a:prstGeom>
            <a:ln w="317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42905" y="97086"/>
            <a:ext cx="6299565" cy="370275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119451" y="1196848"/>
            <a:ext cx="8906591" cy="150078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0"/>
            <p:custDataLst>
              <p:tags r:id="rId2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4BF36FD5-1F5B-4EAB-A7C3-83506AD46B4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6694080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5" hidden="1"/>
          <p:cNvGraphicFramePr>
            <a:graphicFrameLocks/>
          </p:cNvGraphicFramePr>
          <p:nvPr/>
        </p:nvGraphicFramePr>
        <p:xfrm>
          <a:off x="4763" y="0"/>
          <a:ext cx="149225" cy="158750"/>
        </p:xfrm>
        <a:graphic>
          <a:graphicData uri="http://schemas.openxmlformats.org/presentationml/2006/ole">
            <p:oleObj spid="_x0000_s46244" name="think-cell Slide" r:id="rId4" imgW="0" imgH="0" progId="">
              <p:embed/>
            </p:oleObj>
          </a:graphicData>
        </a:graphic>
      </p:graphicFrame>
      <p:grpSp>
        <p:nvGrpSpPr>
          <p:cNvPr id="5" name="Группа 8"/>
          <p:cNvGrpSpPr>
            <a:grpSpLocks/>
          </p:cNvGrpSpPr>
          <p:nvPr userDrawn="1"/>
        </p:nvGrpSpPr>
        <p:grpSpPr bwMode="auto">
          <a:xfrm>
            <a:off x="-15875" y="73025"/>
            <a:ext cx="9175750" cy="1109663"/>
            <a:chOff x="-16850" y="72801"/>
            <a:chExt cx="9756000" cy="1107059"/>
          </a:xfrm>
        </p:grpSpPr>
        <p:grpSp>
          <p:nvGrpSpPr>
            <p:cNvPr id="6" name="Группа 9"/>
            <p:cNvGrpSpPr>
              <a:grpSpLocks/>
            </p:cNvGrpSpPr>
            <p:nvPr/>
          </p:nvGrpSpPr>
          <p:grpSpPr bwMode="auto">
            <a:xfrm>
              <a:off x="267351" y="72801"/>
              <a:ext cx="3097974" cy="829518"/>
              <a:chOff x="267351" y="72801"/>
              <a:chExt cx="3097974" cy="829518"/>
            </a:xfrm>
          </p:grpSpPr>
          <p:sp>
            <p:nvSpPr>
              <p:cNvPr id="8" name="TextBox 11"/>
              <p:cNvSpPr txBox="1">
                <a:spLocks noChangeArrowheads="1"/>
              </p:cNvSpPr>
              <p:nvPr/>
            </p:nvSpPr>
            <p:spPr bwMode="auto">
              <a:xfrm>
                <a:off x="992508" y="256519"/>
                <a:ext cx="2373172" cy="64618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>
                  <a:defRPr/>
                </a:pPr>
                <a:r>
                  <a:rPr lang="ru-RU" altLang="ru-RU" sz="1200" b="1" smtClean="0">
                    <a:solidFill>
                      <a:srgbClr val="000000"/>
                    </a:solidFill>
                  </a:rPr>
                  <a:t>Департамент ЖКХ, энергетики и регулирования тарифов</a:t>
                </a:r>
              </a:p>
              <a:p>
                <a:pPr>
                  <a:defRPr/>
                </a:pPr>
                <a:r>
                  <a:rPr lang="ru-RU" altLang="ru-RU" sz="1200" b="1" smtClean="0">
                    <a:solidFill>
                      <a:srgbClr val="000000"/>
                    </a:solidFill>
                  </a:rPr>
                  <a:t>Ярославской области</a:t>
                </a:r>
              </a:p>
            </p:txBody>
          </p:sp>
          <p:pic>
            <p:nvPicPr>
              <p:cNvPr id="9" name="Рисунок 6" descr="gerb1.jpg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7351" y="72801"/>
                <a:ext cx="464491" cy="828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cxnSp>
          <p:nvCxnSpPr>
            <p:cNvPr id="7" name="Прямая соединительная линия 6"/>
            <p:cNvCxnSpPr/>
            <p:nvPr/>
          </p:nvCxnSpPr>
          <p:spPr>
            <a:xfrm>
              <a:off x="-16850" y="1179860"/>
              <a:ext cx="9756000" cy="0"/>
            </a:xfrm>
            <a:prstGeom prst="line">
              <a:avLst/>
            </a:prstGeom>
            <a:ln w="317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79380" y="4418150"/>
            <a:ext cx="7310422" cy="707886"/>
          </a:xfrm>
          <a:prstGeom prst="rect">
            <a:avLst/>
          </a:prstGeo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79380" y="4037670"/>
            <a:ext cx="7310422" cy="38048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10"/>
            <p:custDataLst>
              <p:tags r:id="rId2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EC7C0B69-4E72-4B6A-969E-D1FFBA08D25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1910122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5" hidden="1"/>
          <p:cNvGraphicFramePr>
            <a:graphicFrameLocks/>
          </p:cNvGraphicFramePr>
          <p:nvPr/>
        </p:nvGraphicFramePr>
        <p:xfrm>
          <a:off x="4763" y="0"/>
          <a:ext cx="149225" cy="158750"/>
        </p:xfrm>
        <a:graphic>
          <a:graphicData uri="http://schemas.openxmlformats.org/presentationml/2006/ole">
            <p:oleObj spid="_x0000_s47268" name="think-cell Slide" r:id="rId4" imgW="0" imgH="0" progId="">
              <p:embed/>
            </p:oleObj>
          </a:graphicData>
        </a:graphic>
      </p:graphicFrame>
      <p:grpSp>
        <p:nvGrpSpPr>
          <p:cNvPr id="6" name="Группа 8"/>
          <p:cNvGrpSpPr>
            <a:grpSpLocks/>
          </p:cNvGrpSpPr>
          <p:nvPr userDrawn="1"/>
        </p:nvGrpSpPr>
        <p:grpSpPr bwMode="auto">
          <a:xfrm>
            <a:off x="-15875" y="73025"/>
            <a:ext cx="9175750" cy="1109663"/>
            <a:chOff x="-16850" y="72801"/>
            <a:chExt cx="9756000" cy="1107059"/>
          </a:xfrm>
        </p:grpSpPr>
        <p:grpSp>
          <p:nvGrpSpPr>
            <p:cNvPr id="7" name="Группа 9"/>
            <p:cNvGrpSpPr>
              <a:grpSpLocks/>
            </p:cNvGrpSpPr>
            <p:nvPr/>
          </p:nvGrpSpPr>
          <p:grpSpPr bwMode="auto">
            <a:xfrm>
              <a:off x="267351" y="72801"/>
              <a:ext cx="3097974" cy="829518"/>
              <a:chOff x="267351" y="72801"/>
              <a:chExt cx="3097974" cy="829518"/>
            </a:xfrm>
          </p:grpSpPr>
          <p:sp>
            <p:nvSpPr>
              <p:cNvPr id="9" name="TextBox 11"/>
              <p:cNvSpPr txBox="1">
                <a:spLocks noChangeArrowheads="1"/>
              </p:cNvSpPr>
              <p:nvPr/>
            </p:nvSpPr>
            <p:spPr bwMode="auto">
              <a:xfrm>
                <a:off x="992508" y="256519"/>
                <a:ext cx="2373172" cy="64618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>
                  <a:defRPr/>
                </a:pPr>
                <a:r>
                  <a:rPr lang="ru-RU" altLang="ru-RU" sz="1200" b="1" smtClean="0">
                    <a:solidFill>
                      <a:srgbClr val="000000"/>
                    </a:solidFill>
                  </a:rPr>
                  <a:t>Департамент ЖКХ, энергетики и регулирования тарифов</a:t>
                </a:r>
              </a:p>
              <a:p>
                <a:pPr>
                  <a:defRPr/>
                </a:pPr>
                <a:r>
                  <a:rPr lang="ru-RU" altLang="ru-RU" sz="1200" b="1" smtClean="0">
                    <a:solidFill>
                      <a:srgbClr val="000000"/>
                    </a:solidFill>
                  </a:rPr>
                  <a:t>Ярославской области</a:t>
                </a:r>
              </a:p>
            </p:txBody>
          </p:sp>
          <p:pic>
            <p:nvPicPr>
              <p:cNvPr id="10" name="Рисунок 6" descr="gerb1.jpg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7351" y="72801"/>
                <a:ext cx="464491" cy="828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cxnSp>
          <p:nvCxnSpPr>
            <p:cNvPr id="8" name="Прямая соединительная линия 7"/>
            <p:cNvCxnSpPr/>
            <p:nvPr/>
          </p:nvCxnSpPr>
          <p:spPr>
            <a:xfrm>
              <a:off x="-16850" y="1179860"/>
              <a:ext cx="9756000" cy="0"/>
            </a:xfrm>
            <a:prstGeom prst="line">
              <a:avLst/>
            </a:prstGeom>
            <a:ln w="317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42905" y="97086"/>
            <a:ext cx="6299565" cy="370275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30026" y="1604285"/>
            <a:ext cx="3798553" cy="2534916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371922" y="1604285"/>
            <a:ext cx="3798553" cy="2534916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10"/>
            <p:custDataLst>
              <p:tags r:id="rId2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A2E3286A-AE25-4FC3-A120-469EE18D7C6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8551653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Rectangle 15" hidden="1"/>
          <p:cNvGraphicFramePr>
            <a:graphicFrameLocks/>
          </p:cNvGraphicFramePr>
          <p:nvPr/>
        </p:nvGraphicFramePr>
        <p:xfrm>
          <a:off x="4763" y="0"/>
          <a:ext cx="149225" cy="158750"/>
        </p:xfrm>
        <a:graphic>
          <a:graphicData uri="http://schemas.openxmlformats.org/presentationml/2006/ole">
            <p:oleObj spid="_x0000_s48292" name="think-cell Slide" r:id="rId4" imgW="0" imgH="0" progId="">
              <p:embed/>
            </p:oleObj>
          </a:graphicData>
        </a:graphic>
      </p:graphicFrame>
      <p:grpSp>
        <p:nvGrpSpPr>
          <p:cNvPr id="8" name="Группа 8"/>
          <p:cNvGrpSpPr>
            <a:grpSpLocks/>
          </p:cNvGrpSpPr>
          <p:nvPr userDrawn="1"/>
        </p:nvGrpSpPr>
        <p:grpSpPr bwMode="auto">
          <a:xfrm>
            <a:off x="-15875" y="73025"/>
            <a:ext cx="9175750" cy="1109663"/>
            <a:chOff x="-16850" y="72801"/>
            <a:chExt cx="9756000" cy="1107059"/>
          </a:xfrm>
        </p:grpSpPr>
        <p:grpSp>
          <p:nvGrpSpPr>
            <p:cNvPr id="9" name="Группа 9"/>
            <p:cNvGrpSpPr>
              <a:grpSpLocks/>
            </p:cNvGrpSpPr>
            <p:nvPr/>
          </p:nvGrpSpPr>
          <p:grpSpPr bwMode="auto">
            <a:xfrm>
              <a:off x="267351" y="72801"/>
              <a:ext cx="3097974" cy="829518"/>
              <a:chOff x="267351" y="72801"/>
              <a:chExt cx="3097974" cy="829518"/>
            </a:xfrm>
          </p:grpSpPr>
          <p:sp>
            <p:nvSpPr>
              <p:cNvPr id="11" name="TextBox 11"/>
              <p:cNvSpPr txBox="1">
                <a:spLocks noChangeArrowheads="1"/>
              </p:cNvSpPr>
              <p:nvPr/>
            </p:nvSpPr>
            <p:spPr bwMode="auto">
              <a:xfrm>
                <a:off x="992508" y="256519"/>
                <a:ext cx="2373172" cy="64618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>
                  <a:defRPr/>
                </a:pPr>
                <a:r>
                  <a:rPr lang="ru-RU" altLang="ru-RU" sz="1200" b="1" smtClean="0">
                    <a:solidFill>
                      <a:srgbClr val="000000"/>
                    </a:solidFill>
                  </a:rPr>
                  <a:t>Департамент ЖКХ, энергетики и регулирования тарифов</a:t>
                </a:r>
              </a:p>
              <a:p>
                <a:pPr>
                  <a:defRPr/>
                </a:pPr>
                <a:r>
                  <a:rPr lang="ru-RU" altLang="ru-RU" sz="1200" b="1" smtClean="0">
                    <a:solidFill>
                      <a:srgbClr val="000000"/>
                    </a:solidFill>
                  </a:rPr>
                  <a:t>Ярославской области</a:t>
                </a:r>
              </a:p>
            </p:txBody>
          </p:sp>
          <p:pic>
            <p:nvPicPr>
              <p:cNvPr id="12" name="Рисунок 6" descr="gerb1.jpg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7351" y="72801"/>
                <a:ext cx="464491" cy="828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cxnSp>
          <p:nvCxnSpPr>
            <p:cNvPr id="10" name="Прямая соединительная линия 9"/>
            <p:cNvCxnSpPr/>
            <p:nvPr/>
          </p:nvCxnSpPr>
          <p:spPr>
            <a:xfrm>
              <a:off x="-16850" y="1179860"/>
              <a:ext cx="9756000" cy="0"/>
            </a:xfrm>
            <a:prstGeom prst="line">
              <a:avLst/>
            </a:prstGeom>
            <a:ln w="317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42905" y="97086"/>
            <a:ext cx="6299565" cy="3702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30025" y="1738395"/>
            <a:ext cx="3800046" cy="44203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30025" y="2180430"/>
            <a:ext cx="3800046" cy="1734697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368936" y="1738395"/>
            <a:ext cx="3801539" cy="44203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368936" y="2180430"/>
            <a:ext cx="3801539" cy="1734697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3" name="Номер слайда 5"/>
          <p:cNvSpPr>
            <a:spLocks noGrp="1"/>
          </p:cNvSpPr>
          <p:nvPr>
            <p:ph type="sldNum" sz="quarter" idx="10"/>
            <p:custDataLst>
              <p:tags r:id="rId2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83C71D6E-4DA9-4FDA-9FCB-34E14F4CC03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3520457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15" hidden="1"/>
          <p:cNvGraphicFramePr>
            <a:graphicFrameLocks/>
          </p:cNvGraphicFramePr>
          <p:nvPr/>
        </p:nvGraphicFramePr>
        <p:xfrm>
          <a:off x="4763" y="0"/>
          <a:ext cx="149225" cy="158750"/>
        </p:xfrm>
        <a:graphic>
          <a:graphicData uri="http://schemas.openxmlformats.org/presentationml/2006/ole">
            <p:oleObj spid="_x0000_s49316" name="think-cell Slide" r:id="rId4" imgW="0" imgH="0" progId="">
              <p:embed/>
            </p:oleObj>
          </a:graphicData>
        </a:graphic>
      </p:graphicFrame>
      <p:grpSp>
        <p:nvGrpSpPr>
          <p:cNvPr id="4" name="Группа 8"/>
          <p:cNvGrpSpPr>
            <a:grpSpLocks/>
          </p:cNvGrpSpPr>
          <p:nvPr userDrawn="1"/>
        </p:nvGrpSpPr>
        <p:grpSpPr bwMode="auto">
          <a:xfrm>
            <a:off x="-15875" y="73025"/>
            <a:ext cx="9175750" cy="1109663"/>
            <a:chOff x="-16850" y="72801"/>
            <a:chExt cx="9756000" cy="1107059"/>
          </a:xfrm>
        </p:grpSpPr>
        <p:grpSp>
          <p:nvGrpSpPr>
            <p:cNvPr id="5" name="Группа 9"/>
            <p:cNvGrpSpPr>
              <a:grpSpLocks/>
            </p:cNvGrpSpPr>
            <p:nvPr/>
          </p:nvGrpSpPr>
          <p:grpSpPr bwMode="auto">
            <a:xfrm>
              <a:off x="267351" y="72801"/>
              <a:ext cx="3097974" cy="829518"/>
              <a:chOff x="267351" y="72801"/>
              <a:chExt cx="3097974" cy="829518"/>
            </a:xfrm>
          </p:grpSpPr>
          <p:sp>
            <p:nvSpPr>
              <p:cNvPr id="7" name="TextBox 11"/>
              <p:cNvSpPr txBox="1">
                <a:spLocks noChangeArrowheads="1"/>
              </p:cNvSpPr>
              <p:nvPr/>
            </p:nvSpPr>
            <p:spPr bwMode="auto">
              <a:xfrm>
                <a:off x="992508" y="256519"/>
                <a:ext cx="2373172" cy="64618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>
                  <a:defRPr/>
                </a:pPr>
                <a:r>
                  <a:rPr lang="ru-RU" altLang="ru-RU" sz="1200" b="1" smtClean="0">
                    <a:solidFill>
                      <a:srgbClr val="000000"/>
                    </a:solidFill>
                  </a:rPr>
                  <a:t>Департамент ЖКХ, энергетики и регулирования тарифов</a:t>
                </a:r>
              </a:p>
              <a:p>
                <a:pPr>
                  <a:defRPr/>
                </a:pPr>
                <a:r>
                  <a:rPr lang="ru-RU" altLang="ru-RU" sz="1200" b="1" smtClean="0">
                    <a:solidFill>
                      <a:srgbClr val="000000"/>
                    </a:solidFill>
                  </a:rPr>
                  <a:t>Ярославской области</a:t>
                </a:r>
              </a:p>
            </p:txBody>
          </p:sp>
          <p:pic>
            <p:nvPicPr>
              <p:cNvPr id="8" name="Рисунок 6" descr="gerb1.jpg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7351" y="72801"/>
                <a:ext cx="464491" cy="828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cxnSp>
          <p:nvCxnSpPr>
            <p:cNvPr id="6" name="Прямая соединительная линия 5"/>
            <p:cNvCxnSpPr/>
            <p:nvPr/>
          </p:nvCxnSpPr>
          <p:spPr>
            <a:xfrm>
              <a:off x="-16850" y="1179860"/>
              <a:ext cx="9756000" cy="0"/>
            </a:xfrm>
            <a:prstGeom prst="line">
              <a:avLst/>
            </a:prstGeom>
            <a:ln w="317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42905" y="97086"/>
            <a:ext cx="6299565" cy="370275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0"/>
            <p:custDataLst>
              <p:tags r:id="rId2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F76DFD4A-B8E0-4D15-B0C5-D9D7AE8D046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1629839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15" hidden="1"/>
          <p:cNvGraphicFramePr>
            <a:graphicFrameLocks/>
          </p:cNvGraphicFramePr>
          <p:nvPr/>
        </p:nvGraphicFramePr>
        <p:xfrm>
          <a:off x="4763" y="0"/>
          <a:ext cx="149225" cy="158750"/>
        </p:xfrm>
        <a:graphic>
          <a:graphicData uri="http://schemas.openxmlformats.org/presentationml/2006/ole">
            <p:oleObj spid="_x0000_s50340" name="think-cell Slide" r:id="rId4" imgW="0" imgH="0" progId="">
              <p:embed/>
            </p:oleObj>
          </a:graphicData>
        </a:graphic>
      </p:graphicFrame>
      <p:grpSp>
        <p:nvGrpSpPr>
          <p:cNvPr id="3" name="Группа 8"/>
          <p:cNvGrpSpPr>
            <a:grpSpLocks/>
          </p:cNvGrpSpPr>
          <p:nvPr userDrawn="1"/>
        </p:nvGrpSpPr>
        <p:grpSpPr bwMode="auto">
          <a:xfrm>
            <a:off x="-15875" y="73025"/>
            <a:ext cx="9175750" cy="1109663"/>
            <a:chOff x="-16850" y="72801"/>
            <a:chExt cx="9756000" cy="1107059"/>
          </a:xfrm>
        </p:grpSpPr>
        <p:grpSp>
          <p:nvGrpSpPr>
            <p:cNvPr id="4" name="Группа 9"/>
            <p:cNvGrpSpPr>
              <a:grpSpLocks/>
            </p:cNvGrpSpPr>
            <p:nvPr/>
          </p:nvGrpSpPr>
          <p:grpSpPr bwMode="auto">
            <a:xfrm>
              <a:off x="267351" y="72801"/>
              <a:ext cx="3097974" cy="829518"/>
              <a:chOff x="267351" y="72801"/>
              <a:chExt cx="3097974" cy="829518"/>
            </a:xfrm>
          </p:grpSpPr>
          <p:sp>
            <p:nvSpPr>
              <p:cNvPr id="6" name="TextBox 11"/>
              <p:cNvSpPr txBox="1">
                <a:spLocks noChangeArrowheads="1"/>
              </p:cNvSpPr>
              <p:nvPr/>
            </p:nvSpPr>
            <p:spPr bwMode="auto">
              <a:xfrm>
                <a:off x="992508" y="256519"/>
                <a:ext cx="2373172" cy="64618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>
                  <a:defRPr/>
                </a:pPr>
                <a:r>
                  <a:rPr lang="ru-RU" altLang="ru-RU" sz="1200" b="1" smtClean="0">
                    <a:solidFill>
                      <a:srgbClr val="000000"/>
                    </a:solidFill>
                  </a:rPr>
                  <a:t>Департамент ЖКХ, энергетики и регулирования тарифов</a:t>
                </a:r>
              </a:p>
              <a:p>
                <a:pPr>
                  <a:defRPr/>
                </a:pPr>
                <a:r>
                  <a:rPr lang="ru-RU" altLang="ru-RU" sz="1200" b="1" smtClean="0">
                    <a:solidFill>
                      <a:srgbClr val="000000"/>
                    </a:solidFill>
                  </a:rPr>
                  <a:t>Ярославской области</a:t>
                </a:r>
              </a:p>
            </p:txBody>
          </p:sp>
          <p:pic>
            <p:nvPicPr>
              <p:cNvPr id="7" name="Рисунок 14" descr="gerb1.jpg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7351" y="72801"/>
                <a:ext cx="464491" cy="828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cxnSp>
          <p:nvCxnSpPr>
            <p:cNvPr id="5" name="Прямая соединительная линия 4"/>
            <p:cNvCxnSpPr/>
            <p:nvPr/>
          </p:nvCxnSpPr>
          <p:spPr>
            <a:xfrm>
              <a:off x="-16850" y="1179860"/>
              <a:ext cx="9756000" cy="0"/>
            </a:xfrm>
            <a:prstGeom prst="line">
              <a:avLst/>
            </a:prstGeom>
            <a:ln w="317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Номер слайда 5"/>
          <p:cNvSpPr>
            <a:spLocks noGrp="1"/>
          </p:cNvSpPr>
          <p:nvPr>
            <p:ph type="sldNum" sz="quarter" idx="10"/>
            <p:custDataLst>
              <p:tags r:id="rId2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CDACAAEF-F495-4C33-AF64-203B7A69414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141042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5" hidden="1"/>
          <p:cNvGraphicFramePr>
            <a:graphicFrameLocks/>
          </p:cNvGraphicFramePr>
          <p:nvPr/>
        </p:nvGraphicFramePr>
        <p:xfrm>
          <a:off x="4763" y="0"/>
          <a:ext cx="149225" cy="158750"/>
        </p:xfrm>
        <a:graphic>
          <a:graphicData uri="http://schemas.openxmlformats.org/presentationml/2006/ole">
            <p:oleObj spid="_x0000_s51364" name="think-cell Slide" r:id="rId4" imgW="0" imgH="0" progId="">
              <p:embed/>
            </p:oleObj>
          </a:graphicData>
        </a:graphic>
      </p:graphicFrame>
      <p:grpSp>
        <p:nvGrpSpPr>
          <p:cNvPr id="6" name="Группа 8"/>
          <p:cNvGrpSpPr>
            <a:grpSpLocks/>
          </p:cNvGrpSpPr>
          <p:nvPr userDrawn="1"/>
        </p:nvGrpSpPr>
        <p:grpSpPr bwMode="auto">
          <a:xfrm>
            <a:off x="-15875" y="73025"/>
            <a:ext cx="9175750" cy="1109663"/>
            <a:chOff x="-16850" y="72801"/>
            <a:chExt cx="9756000" cy="1107059"/>
          </a:xfrm>
        </p:grpSpPr>
        <p:grpSp>
          <p:nvGrpSpPr>
            <p:cNvPr id="7" name="Группа 9"/>
            <p:cNvGrpSpPr>
              <a:grpSpLocks/>
            </p:cNvGrpSpPr>
            <p:nvPr/>
          </p:nvGrpSpPr>
          <p:grpSpPr bwMode="auto">
            <a:xfrm>
              <a:off x="267351" y="72801"/>
              <a:ext cx="3097974" cy="829518"/>
              <a:chOff x="267351" y="72801"/>
              <a:chExt cx="3097974" cy="829518"/>
            </a:xfrm>
          </p:grpSpPr>
          <p:sp>
            <p:nvSpPr>
              <p:cNvPr id="9" name="TextBox 11"/>
              <p:cNvSpPr txBox="1">
                <a:spLocks noChangeArrowheads="1"/>
              </p:cNvSpPr>
              <p:nvPr/>
            </p:nvSpPr>
            <p:spPr bwMode="auto">
              <a:xfrm>
                <a:off x="992508" y="256519"/>
                <a:ext cx="2373172" cy="64618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>
                  <a:defRPr/>
                </a:pPr>
                <a:r>
                  <a:rPr lang="ru-RU" altLang="ru-RU" sz="1200" b="1" smtClean="0">
                    <a:solidFill>
                      <a:srgbClr val="000000"/>
                    </a:solidFill>
                  </a:rPr>
                  <a:t>Департамент ЖКХ, энергетики и регулирования тарифов</a:t>
                </a:r>
              </a:p>
              <a:p>
                <a:pPr>
                  <a:defRPr/>
                </a:pPr>
                <a:r>
                  <a:rPr lang="ru-RU" altLang="ru-RU" sz="1200" b="1" smtClean="0">
                    <a:solidFill>
                      <a:srgbClr val="000000"/>
                    </a:solidFill>
                  </a:rPr>
                  <a:t>Ярославской области</a:t>
                </a:r>
              </a:p>
            </p:txBody>
          </p:sp>
          <p:pic>
            <p:nvPicPr>
              <p:cNvPr id="10" name="Рисунок 6" descr="gerb1.jpg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7351" y="72801"/>
                <a:ext cx="464491" cy="828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cxnSp>
          <p:nvCxnSpPr>
            <p:cNvPr id="8" name="Прямая соединительная линия 7"/>
            <p:cNvCxnSpPr/>
            <p:nvPr/>
          </p:nvCxnSpPr>
          <p:spPr>
            <a:xfrm>
              <a:off x="-16850" y="1179860"/>
              <a:ext cx="9756000" cy="0"/>
            </a:xfrm>
            <a:prstGeom prst="line">
              <a:avLst/>
            </a:prstGeom>
            <a:ln w="317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30025" y="1038653"/>
            <a:ext cx="2829504" cy="40011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362555" y="273748"/>
            <a:ext cx="4807916" cy="2264072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30025" y="1438767"/>
            <a:ext cx="2829504" cy="2881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Номер слайда 5"/>
          <p:cNvSpPr>
            <a:spLocks noGrp="1"/>
          </p:cNvSpPr>
          <p:nvPr>
            <p:ph type="sldNum" sz="quarter" idx="10"/>
            <p:custDataLst>
              <p:tags r:id="rId2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E1D10EEB-52D9-49E1-AF8F-860E6D92743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6202646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15" hidden="1"/>
          <p:cNvGraphicFramePr>
            <a:graphicFrameLocks/>
          </p:cNvGraphicFramePr>
          <p:nvPr/>
        </p:nvGraphicFramePr>
        <p:xfrm>
          <a:off x="4763" y="0"/>
          <a:ext cx="149225" cy="158750"/>
        </p:xfrm>
        <a:graphic>
          <a:graphicData uri="http://schemas.openxmlformats.org/presentationml/2006/ole">
            <p:oleObj spid="_x0000_s1195" name="think-cell Slide" r:id="rId18" imgW="0" imgH="0" progId="">
              <p:embed/>
            </p:oleObj>
          </a:graphicData>
        </a:graphic>
      </p:graphicFrame>
      <p:sp>
        <p:nvSpPr>
          <p:cNvPr id="6" name="Номер слайда 5"/>
          <p:cNvSpPr>
            <a:spLocks noGrp="1"/>
          </p:cNvSpPr>
          <p:nvPr>
            <p:ph type="sldNum" sz="quarter" idx="4"/>
            <p:custDataLst>
              <p:tags r:id="rId17"/>
            </p:custDataLst>
          </p:nvPr>
        </p:nvSpPr>
        <p:spPr bwMode="auto">
          <a:xfrm>
            <a:off x="8739188" y="6597650"/>
            <a:ext cx="369887" cy="195263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spAutoFit/>
          </a:bodyPr>
          <a:lstStyle>
            <a:lvl1pPr algn="r">
              <a:defRPr sz="800">
                <a:solidFill>
                  <a:srgbClr val="898989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801BF467-4BC2-4E0C-B313-358A27F35EC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grpSp>
        <p:nvGrpSpPr>
          <p:cNvPr id="1028" name="Группа 8"/>
          <p:cNvGrpSpPr>
            <a:grpSpLocks/>
          </p:cNvGrpSpPr>
          <p:nvPr userDrawn="1"/>
        </p:nvGrpSpPr>
        <p:grpSpPr bwMode="auto">
          <a:xfrm>
            <a:off x="-15875" y="73025"/>
            <a:ext cx="9175750" cy="1109663"/>
            <a:chOff x="-16850" y="72801"/>
            <a:chExt cx="9756000" cy="1107059"/>
          </a:xfrm>
        </p:grpSpPr>
        <p:grpSp>
          <p:nvGrpSpPr>
            <p:cNvPr id="1029" name="Группа 9"/>
            <p:cNvGrpSpPr>
              <a:grpSpLocks/>
            </p:cNvGrpSpPr>
            <p:nvPr/>
          </p:nvGrpSpPr>
          <p:grpSpPr bwMode="auto">
            <a:xfrm>
              <a:off x="267351" y="72801"/>
              <a:ext cx="3097974" cy="829518"/>
              <a:chOff x="267351" y="72801"/>
              <a:chExt cx="3097974" cy="829518"/>
            </a:xfrm>
          </p:grpSpPr>
          <p:sp>
            <p:nvSpPr>
              <p:cNvPr id="1031" name="TextBox 11"/>
              <p:cNvSpPr txBox="1">
                <a:spLocks noChangeArrowheads="1"/>
              </p:cNvSpPr>
              <p:nvPr/>
            </p:nvSpPr>
            <p:spPr bwMode="auto">
              <a:xfrm>
                <a:off x="992508" y="256519"/>
                <a:ext cx="2373172" cy="64618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Calibri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itchFamily="34" charset="0"/>
                  </a:defRPr>
                </a:lvl9pPr>
              </a:lstStyle>
              <a:p>
                <a:pPr>
                  <a:defRPr/>
                </a:pPr>
                <a:r>
                  <a:rPr lang="ru-RU" altLang="ru-RU" sz="1200" b="1" smtClean="0">
                    <a:solidFill>
                      <a:srgbClr val="000000"/>
                    </a:solidFill>
                  </a:rPr>
                  <a:t>Департамент ЖКХ, энергетики и регулирования тарифов</a:t>
                </a:r>
              </a:p>
              <a:p>
                <a:pPr>
                  <a:defRPr/>
                </a:pPr>
                <a:r>
                  <a:rPr lang="ru-RU" altLang="ru-RU" sz="1200" b="1" smtClean="0">
                    <a:solidFill>
                      <a:srgbClr val="000000"/>
                    </a:solidFill>
                  </a:rPr>
                  <a:t>Ярославской области</a:t>
                </a:r>
              </a:p>
            </p:txBody>
          </p:sp>
          <p:pic>
            <p:nvPicPr>
              <p:cNvPr id="1032" name="Рисунок 6" descr="gerb1.jpg"/>
              <p:cNvPicPr>
                <a:picLocks noChangeAspect="1"/>
              </p:cNvPicPr>
              <p:nvPr/>
            </p:nvPicPr>
            <p:blipFill>
              <a:blip r:embed="rId19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7351" y="72801"/>
                <a:ext cx="464491" cy="828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cxnSp>
          <p:nvCxnSpPr>
            <p:cNvPr id="11" name="Прямая соединительная линия 10"/>
            <p:cNvCxnSpPr/>
            <p:nvPr/>
          </p:nvCxnSpPr>
          <p:spPr>
            <a:xfrm>
              <a:off x="-16850" y="1179860"/>
              <a:ext cx="9756000" cy="0"/>
            </a:xfrm>
            <a:prstGeom prst="line">
              <a:avLst/>
            </a:prstGeom>
            <a:ln w="317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02" r:id="rId1"/>
    <p:sldLayoutId id="2147484003" r:id="rId2"/>
    <p:sldLayoutId id="2147484004" r:id="rId3"/>
    <p:sldLayoutId id="2147484005" r:id="rId4"/>
    <p:sldLayoutId id="2147484006" r:id="rId5"/>
    <p:sldLayoutId id="2147484007" r:id="rId6"/>
    <p:sldLayoutId id="2147484008" r:id="rId7"/>
    <p:sldLayoutId id="2147484009" r:id="rId8"/>
    <p:sldLayoutId id="2147484010" r:id="rId9"/>
    <p:sldLayoutId id="2147484011" r:id="rId10"/>
    <p:sldLayoutId id="2147484012" r:id="rId11"/>
    <p:sldLayoutId id="2147484013" r:id="rId12"/>
    <p:sldLayoutId id="2147484014" r:id="rId13"/>
    <p:sldLayoutId id="2147484015" r:id="rId14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buFont typeface="Wingdings" pitchFamily="2" charset="2"/>
        <a:defRPr b="1" kern="1200">
          <a:solidFill>
            <a:schemeClr val="bg1"/>
          </a:solidFill>
          <a:latin typeface="Arial" charset="0"/>
          <a:ea typeface="+mj-ea"/>
          <a:cs typeface="Arial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buFont typeface="Wingdings" pitchFamily="2" charset="2"/>
        <a:defRPr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buFont typeface="Wingdings" pitchFamily="2" charset="2"/>
        <a:defRPr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buFont typeface="Wingdings" pitchFamily="2" charset="2"/>
        <a:defRPr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buFont typeface="Wingdings" pitchFamily="2" charset="2"/>
        <a:defRPr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buFont typeface="Wingdings" pitchFamily="2" charset="2"/>
        <a:defRPr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buFont typeface="Wingdings" pitchFamily="2" charset="2"/>
        <a:defRPr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buFont typeface="Wingdings" pitchFamily="2" charset="2"/>
        <a:defRPr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buFont typeface="Wingdings" pitchFamily="2" charset="2"/>
        <a:defRPr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defRPr sz="1600" b="1" kern="1200">
          <a:solidFill>
            <a:schemeClr val="tx1"/>
          </a:solidFill>
          <a:latin typeface="Arial" charset="0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b="1" kern="1200">
          <a:solidFill>
            <a:schemeClr val="tx1"/>
          </a:solidFill>
          <a:latin typeface="Arial" charset="0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 b="1" kern="1200">
          <a:solidFill>
            <a:schemeClr val="tx1"/>
          </a:solidFill>
          <a:latin typeface="Arial" charset="0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b="1" kern="1200">
          <a:solidFill>
            <a:schemeClr val="tx1"/>
          </a:solidFill>
          <a:latin typeface="Arial" charset="0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 b="1" kern="1200">
          <a:solidFill>
            <a:schemeClr val="tx1"/>
          </a:solidFill>
          <a:latin typeface="Arial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Номер слайда 3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0BBC7687-EB92-4841-B3FF-AF16C3263C85}" type="slidenum">
              <a:rPr lang="ru-RU" altLang="ru-RU" smtClean="0">
                <a:solidFill>
                  <a:srgbClr val="898989"/>
                </a:solidFill>
                <a:latin typeface="Arial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ru-RU" altLang="ru-RU" smtClean="0">
              <a:solidFill>
                <a:srgbClr val="898989"/>
              </a:solidFill>
              <a:latin typeface="Arial" charset="0"/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-15875" y="1179513"/>
            <a:ext cx="9175750" cy="0"/>
          </a:xfrm>
          <a:prstGeom prst="line">
            <a:avLst/>
          </a:prstGeom>
          <a:ln w="317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36" name="TextBox 10"/>
          <p:cNvSpPr txBox="1">
            <a:spLocks noChangeArrowheads="1"/>
          </p:cNvSpPr>
          <p:nvPr/>
        </p:nvSpPr>
        <p:spPr bwMode="auto">
          <a:xfrm>
            <a:off x="465138" y="1997839"/>
            <a:ext cx="8278812" cy="2862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indent="534988" algn="ctr"/>
            <a:r>
              <a:rPr lang="ru-RU" sz="3600" b="1" dirty="0">
                <a:solidFill>
                  <a:srgbClr val="000000"/>
                </a:solidFill>
              </a:rPr>
              <a:t>2. О ходе подготовки муниципальных образований Ярославской области к реализации проекта по созданию современной городской </a:t>
            </a:r>
            <a:r>
              <a:rPr lang="ru-RU" sz="3600" b="1" dirty="0" smtClean="0">
                <a:solidFill>
                  <a:srgbClr val="000000"/>
                </a:solidFill>
              </a:rPr>
              <a:t>среды</a:t>
            </a:r>
            <a:r>
              <a:rPr lang="ru-RU" sz="3600" b="1" dirty="0">
                <a:solidFill>
                  <a:srgbClr val="000000"/>
                </a:solidFill>
              </a:rPr>
              <a:t> </a:t>
            </a:r>
            <a:endParaRPr lang="ru-RU" sz="3600" b="1" dirty="0" smtClean="0">
              <a:solidFill>
                <a:srgbClr val="000000"/>
              </a:solidFill>
            </a:endParaRPr>
          </a:p>
          <a:p>
            <a:pPr indent="534988" algn="ctr"/>
            <a:r>
              <a:rPr lang="ru-RU" sz="3600" b="1" dirty="0" smtClean="0">
                <a:solidFill>
                  <a:srgbClr val="000000"/>
                </a:solidFill>
              </a:rPr>
              <a:t>на 2017 год.</a:t>
            </a:r>
            <a:endParaRPr lang="ru-RU" sz="36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918041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42905" y="97086"/>
            <a:ext cx="6299565" cy="811599"/>
          </a:xfrm>
        </p:spPr>
        <p:txBody>
          <a:bodyPr/>
          <a:lstStyle/>
          <a:p>
            <a:pPr algn="ctr"/>
            <a:r>
              <a:rPr lang="ru-RU" i="1" dirty="0">
                <a:solidFill>
                  <a:srgbClr val="FF0000"/>
                </a:solidFill>
              </a:rPr>
              <a:t>Распределение субсидий </a:t>
            </a:r>
            <a:r>
              <a:rPr lang="ru-RU" i="1" dirty="0" smtClean="0">
                <a:solidFill>
                  <a:srgbClr val="FF0000"/>
                </a:solidFill>
              </a:rPr>
              <a:t/>
            </a:r>
            <a:br>
              <a:rPr lang="ru-RU" i="1" dirty="0" smtClean="0">
                <a:solidFill>
                  <a:srgbClr val="FF0000"/>
                </a:solidFill>
              </a:rPr>
            </a:br>
            <a:r>
              <a:rPr lang="ru-RU" i="1" dirty="0" smtClean="0">
                <a:solidFill>
                  <a:srgbClr val="FF0000"/>
                </a:solidFill>
              </a:rPr>
              <a:t>муниципальным </a:t>
            </a:r>
            <a:r>
              <a:rPr lang="ru-RU" i="1" dirty="0">
                <a:solidFill>
                  <a:srgbClr val="FF0000"/>
                </a:solidFill>
              </a:rPr>
              <a:t>образованиям </a:t>
            </a:r>
            <a:r>
              <a:rPr lang="ru-RU" i="1" dirty="0" smtClean="0">
                <a:solidFill>
                  <a:srgbClr val="FF0000"/>
                </a:solidFill>
              </a:rPr>
              <a:t/>
            </a:r>
            <a:br>
              <a:rPr lang="ru-RU" i="1" dirty="0" smtClean="0">
                <a:solidFill>
                  <a:srgbClr val="FF0000"/>
                </a:solidFill>
              </a:rPr>
            </a:br>
            <a:r>
              <a:rPr lang="ru-RU" i="1" dirty="0" smtClean="0">
                <a:solidFill>
                  <a:srgbClr val="FF0000"/>
                </a:solidFill>
              </a:rPr>
              <a:t>Ярославской </a:t>
            </a:r>
            <a:r>
              <a:rPr lang="ru-RU" i="1" dirty="0">
                <a:solidFill>
                  <a:srgbClr val="FF0000"/>
                </a:solidFill>
              </a:rPr>
              <a:t>области </a:t>
            </a:r>
            <a:r>
              <a:rPr lang="ru-RU" sz="1100" i="1" dirty="0">
                <a:solidFill>
                  <a:schemeClr val="bg1">
                    <a:lumMod val="50000"/>
                  </a:schemeClr>
                </a:solidFill>
              </a:rPr>
              <a:t>(от </a:t>
            </a:r>
            <a:r>
              <a:rPr lang="ru-RU" sz="1100" i="1" dirty="0" smtClean="0">
                <a:solidFill>
                  <a:schemeClr val="bg1">
                    <a:lumMod val="50000"/>
                  </a:schemeClr>
                </a:solidFill>
              </a:rPr>
              <a:t> численности населения)</a:t>
            </a:r>
            <a:r>
              <a:rPr lang="ru-RU" sz="1100" i="1" dirty="0">
                <a:solidFill>
                  <a:schemeClr val="bg1">
                    <a:lumMod val="50000"/>
                  </a:schemeClr>
                </a:solidFill>
              </a:rPr>
              <a:t/>
            </a:r>
            <a:br>
              <a:rPr lang="ru-RU" sz="1100" i="1" dirty="0">
                <a:solidFill>
                  <a:schemeClr val="bg1">
                    <a:lumMod val="50000"/>
                  </a:schemeClr>
                </a:solidFill>
              </a:rPr>
            </a:br>
            <a:endParaRPr lang="ru-RU" sz="1100" dirty="0">
              <a:solidFill>
                <a:schemeClr val="bg1">
                  <a:lumMod val="50000"/>
                </a:schemeClr>
              </a:solidFill>
            </a:endParaRPr>
          </a:p>
        </p:txBody>
      </p:sp>
      <p:graphicFrame>
        <p:nvGraphicFramePr>
          <p:cNvPr id="5" name="Объект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2010854608"/>
              </p:ext>
            </p:extLst>
          </p:nvPr>
        </p:nvGraphicFramePr>
        <p:xfrm>
          <a:off x="185262" y="1268729"/>
          <a:ext cx="8773477" cy="554355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258181"/>
                <a:gridCol w="1418517"/>
                <a:gridCol w="1773147"/>
                <a:gridCol w="1773147"/>
                <a:gridCol w="1550485"/>
              </a:tblGrid>
              <a:tr h="85179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униципальное образование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едеральный бюджет, тыс. руб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ластной бюджет, тыс. руб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униципальный бюджет (5%), тыс. руб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редства на реализацию проекта</a:t>
                      </a:r>
                      <a:r>
                        <a:rPr lang="ru-RU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</a:p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ыс. руб.</a:t>
                      </a:r>
                    </a:p>
                  </a:txBody>
                  <a:tcPr marL="9525" marR="9525" marT="9525" marB="0" anchor="ctr"/>
                </a:tc>
              </a:tr>
              <a:tr h="220000">
                <a:tc>
                  <a:txBody>
                    <a:bodyPr/>
                    <a:lstStyle/>
                    <a:p>
                      <a:pPr lvl="0" algn="l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Ярославль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53 680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50 085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5 461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109 227,6</a:t>
                      </a:r>
                    </a:p>
                  </a:txBody>
                  <a:tcPr marL="9525" marR="9525" marT="9525" marB="0" anchor="b"/>
                </a:tc>
              </a:tr>
              <a:tr h="220000">
                <a:tc>
                  <a:txBody>
                    <a:bodyPr/>
                    <a:lstStyle/>
                    <a:p>
                      <a:pPr lvl="0" algn="l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Переславль-Залесский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8 498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8 243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881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17 623,1</a:t>
                      </a:r>
                    </a:p>
                  </a:txBody>
                  <a:tcPr marL="9525" marR="9525" marT="9525" marB="0" anchor="b"/>
                </a:tc>
              </a:tr>
              <a:tr h="220000">
                <a:tc>
                  <a:txBody>
                    <a:bodyPr/>
                    <a:lstStyle/>
                    <a:p>
                      <a:pPr lvl="0" algn="l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Рыбинск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33 119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31 899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3 422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68 441,0</a:t>
                      </a:r>
                    </a:p>
                  </a:txBody>
                  <a:tcPr marL="9525" marR="9525" marT="9525" marB="0" anchor="b"/>
                </a:tc>
              </a:tr>
              <a:tr h="220000">
                <a:tc>
                  <a:txBody>
                    <a:bodyPr/>
                    <a:lstStyle/>
                    <a:p>
                      <a:pPr lvl="0" algn="l" fontAlgn="ctr"/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ольшесельский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М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3 535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3 475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369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7 379,6</a:t>
                      </a:r>
                    </a:p>
                  </a:txBody>
                  <a:tcPr marL="9525" marR="9525" marT="9525" marB="0" anchor="b"/>
                </a:tc>
              </a:tr>
              <a:tr h="220000">
                <a:tc>
                  <a:txBody>
                    <a:bodyPr/>
                    <a:lstStyle/>
                    <a:p>
                      <a:pPr lvl="0"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орисоглебский М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3 957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3 880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412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8 251,1</a:t>
                      </a:r>
                    </a:p>
                  </a:txBody>
                  <a:tcPr marL="9525" marR="9525" marT="9525" marB="0" anchor="b"/>
                </a:tc>
              </a:tr>
              <a:tr h="220000">
                <a:tc>
                  <a:txBody>
                    <a:bodyPr/>
                    <a:lstStyle/>
                    <a:p>
                      <a:pPr lvl="0" algn="l" fontAlgn="ctr"/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рейтовский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М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3 090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3 047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323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6 460,8</a:t>
                      </a:r>
                    </a:p>
                  </a:txBody>
                  <a:tcPr marL="9525" marR="9525" marT="9525" marB="0" anchor="b"/>
                </a:tc>
              </a:tr>
              <a:tr h="220000">
                <a:tc>
                  <a:txBody>
                    <a:bodyPr/>
                    <a:lstStyle/>
                    <a:p>
                      <a:pPr lvl="0"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аврилов-</a:t>
                      </a:r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Ямский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М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6 116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5 955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635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12 706,9</a:t>
                      </a:r>
                    </a:p>
                  </a:txBody>
                  <a:tcPr marL="9525" marR="9525" marT="9525" marB="0" anchor="b"/>
                </a:tc>
              </a:tr>
              <a:tr h="220000">
                <a:tc>
                  <a:txBody>
                    <a:bodyPr/>
                    <a:lstStyle/>
                    <a:p>
                      <a:pPr lvl="0" algn="l" fontAlgn="ctr"/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аниловский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М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6 041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5 882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627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12 551,5</a:t>
                      </a:r>
                    </a:p>
                  </a:txBody>
                  <a:tcPr marL="9525" marR="9525" marT="9525" marB="0" anchor="b"/>
                </a:tc>
              </a:tr>
              <a:tr h="220000">
                <a:tc>
                  <a:txBody>
                    <a:bodyPr/>
                    <a:lstStyle/>
                    <a:p>
                      <a:pPr lvl="0" algn="l" fontAlgn="ctr"/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Любимский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М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3 827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3 755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399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7 982,1</a:t>
                      </a:r>
                    </a:p>
                  </a:txBody>
                  <a:tcPr marL="9525" marR="9525" marT="9525" marB="0" anchor="b"/>
                </a:tc>
              </a:tr>
              <a:tr h="220000">
                <a:tc>
                  <a:txBody>
                    <a:bodyPr/>
                    <a:lstStyle/>
                    <a:p>
                      <a:pPr lvl="0" algn="l" fontAlgn="ctr"/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ышкинский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М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3 601,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3 538,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375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7 515,0</a:t>
                      </a:r>
                    </a:p>
                  </a:txBody>
                  <a:tcPr marL="9525" marR="9525" marT="9525" marB="0" anchor="b"/>
                </a:tc>
              </a:tr>
              <a:tr h="220000">
                <a:tc>
                  <a:txBody>
                    <a:bodyPr/>
                    <a:lstStyle/>
                    <a:p>
                      <a:pPr lvl="0" algn="l" fontAlgn="ctr"/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коузский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М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4 431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4 336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461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9 229,4</a:t>
                      </a:r>
                    </a:p>
                  </a:txBody>
                  <a:tcPr marL="9525" marR="9525" marT="9525" marB="0" anchor="b"/>
                </a:tc>
              </a:tr>
              <a:tr h="220000">
                <a:tc>
                  <a:txBody>
                    <a:bodyPr/>
                    <a:lstStyle/>
                    <a:p>
                      <a:pPr lvl="0"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красовский М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5 343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5 212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555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11 112,1</a:t>
                      </a:r>
                    </a:p>
                  </a:txBody>
                  <a:tcPr marL="9525" marR="9525" marT="9525" marB="0" anchor="b"/>
                </a:tc>
              </a:tr>
              <a:tr h="220000">
                <a:tc>
                  <a:txBody>
                    <a:bodyPr/>
                    <a:lstStyle/>
                    <a:p>
                      <a:pPr lvl="0"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вомайский М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3 706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3 639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386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7 733,5</a:t>
                      </a:r>
                    </a:p>
                  </a:txBody>
                  <a:tcPr marL="9525" marR="9525" marT="9525" marB="0" anchor="b"/>
                </a:tc>
              </a:tr>
              <a:tr h="220000">
                <a:tc>
                  <a:txBody>
                    <a:bodyPr/>
                    <a:lstStyle/>
                    <a:p>
                      <a:pPr lvl="0" algn="l" fontAlgn="ctr"/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еславский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М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5 154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5 030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536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10 721,5</a:t>
                      </a:r>
                    </a:p>
                  </a:txBody>
                  <a:tcPr marL="9525" marR="9525" marT="9525" marB="0" anchor="b"/>
                </a:tc>
              </a:tr>
              <a:tr h="220000">
                <a:tc>
                  <a:txBody>
                    <a:bodyPr/>
                    <a:lstStyle/>
                    <a:p>
                      <a:pPr lvl="0"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шехонский М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4 215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4 128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439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8 782,8</a:t>
                      </a:r>
                    </a:p>
                  </a:txBody>
                  <a:tcPr marL="9525" marR="9525" marT="9525" marB="0" anchor="b"/>
                </a:tc>
              </a:tr>
              <a:tr h="220000">
                <a:tc>
                  <a:txBody>
                    <a:bodyPr/>
                    <a:lstStyle/>
                    <a:p>
                      <a:pPr lvl="0"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стовский М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12 207,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11 807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1 263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25 278,5</a:t>
                      </a:r>
                    </a:p>
                  </a:txBody>
                  <a:tcPr marL="9525" marR="9525" marT="9525" marB="0" anchor="b"/>
                </a:tc>
              </a:tr>
              <a:tr h="220000">
                <a:tc>
                  <a:txBody>
                    <a:bodyPr/>
                    <a:lstStyle/>
                    <a:p>
                      <a:pPr lvl="0"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ыбинский М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6 363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6 192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660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13 217,2</a:t>
                      </a:r>
                    </a:p>
                  </a:txBody>
                  <a:tcPr marL="9525" marR="9525" marT="9525" marB="0" anchor="b"/>
                </a:tc>
              </a:tr>
              <a:tr h="220000">
                <a:tc>
                  <a:txBody>
                    <a:bodyPr/>
                    <a:lstStyle/>
                    <a:p>
                      <a:pPr lvl="0" algn="l" fontAlgn="ctr"/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утаевский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М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10 827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10 481,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1 121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22 431,2</a:t>
                      </a:r>
                    </a:p>
                  </a:txBody>
                  <a:tcPr marL="9525" marR="9525" marT="9525" marB="0" anchor="b"/>
                </a:tc>
              </a:tr>
              <a:tr h="220000">
                <a:tc>
                  <a:txBody>
                    <a:bodyPr/>
                    <a:lstStyle/>
                    <a:p>
                      <a:pPr lvl="0" algn="l" fontAlgn="ctr"/>
                      <a:r>
                        <a:rPr lang="ru-RU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гличский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М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9 403,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9 112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974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19 490,5</a:t>
                      </a:r>
                    </a:p>
                  </a:txBody>
                  <a:tcPr marL="9525" marR="9525" marT="9525" marB="0" anchor="b"/>
                </a:tc>
              </a:tr>
              <a:tr h="220000">
                <a:tc>
                  <a:txBody>
                    <a:bodyPr/>
                    <a:lstStyle/>
                    <a:p>
                      <a:pPr lvl="0"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Ярославский МР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10 110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9 792,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1 047,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20 951,2</a:t>
                      </a:r>
                    </a:p>
                  </a:txBody>
                  <a:tcPr marL="9525" marR="9525" marT="9525" marB="0" anchor="b"/>
                </a:tc>
              </a:tr>
              <a:tr h="220000">
                <a:tc>
                  <a:txBody>
                    <a:bodyPr/>
                    <a:lstStyle/>
                    <a:p>
                      <a:pPr lvl="0" algn="l" fontAlgn="b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того: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197 233,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189 498,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20 354,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ahoma"/>
                        </a:rPr>
                        <a:t>407 086,7</a:t>
                      </a: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BF36FD5-1F5B-4EAB-A7C3-83506AD46B4B}" type="slidenum">
              <a:rPr lang="ru-RU" smtClean="0"/>
              <a:pPr>
                <a:defRPr/>
              </a:pPr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6476406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D1C3BA1-73CA-4977-9CB5-E2395BB8E201}" type="slidenum">
              <a:rPr lang="ru-RU" smtClean="0"/>
              <a:pPr>
                <a:defRPr/>
              </a:pPr>
              <a:t>3</a:t>
            </a:fld>
            <a:endParaRPr lang="ru-RU"/>
          </a:p>
        </p:txBody>
      </p:sp>
      <p:graphicFrame>
        <p:nvGraphicFramePr>
          <p:cNvPr id="3" name="Диаграмма 2"/>
          <p:cNvGraphicFramePr/>
          <p:nvPr>
            <p:extLst>
              <p:ext uri="{D42A27DB-BD31-4B8C-83A1-F6EECF244321}">
                <p14:modId xmlns:p14="http://schemas.microsoft.com/office/powerpoint/2010/main" xmlns="" val="4063159747"/>
              </p:ext>
            </p:extLst>
          </p:nvPr>
        </p:nvGraphicFramePr>
        <p:xfrm>
          <a:off x="251460" y="1628775"/>
          <a:ext cx="8641080" cy="50406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3332514" y="92598"/>
            <a:ext cx="576071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altLang="ru-RU" sz="2000" b="1" i="1" dirty="0">
                <a:solidFill>
                  <a:srgbClr val="FF0000"/>
                </a:solidFill>
                <a:latin typeface="Arial" charset="0"/>
              </a:rPr>
              <a:t>Распределение субсидии </a:t>
            </a:r>
            <a:br>
              <a:rPr lang="ru-RU" altLang="ru-RU" sz="2000" b="1" i="1" dirty="0">
                <a:solidFill>
                  <a:srgbClr val="FF0000"/>
                </a:solidFill>
                <a:latin typeface="Arial" charset="0"/>
              </a:rPr>
            </a:br>
            <a:r>
              <a:rPr lang="ru-RU" altLang="ru-RU" sz="2000" b="1" i="1" dirty="0">
                <a:solidFill>
                  <a:srgbClr val="FF0000"/>
                </a:solidFill>
                <a:latin typeface="Arial" charset="0"/>
              </a:rPr>
              <a:t>на реализацию проекта по созданию</a:t>
            </a:r>
            <a:br>
              <a:rPr lang="ru-RU" altLang="ru-RU" sz="2000" b="1" i="1" dirty="0">
                <a:solidFill>
                  <a:srgbClr val="FF0000"/>
                </a:solidFill>
                <a:latin typeface="Arial" charset="0"/>
              </a:rPr>
            </a:br>
            <a:r>
              <a:rPr lang="ru-RU" altLang="ru-RU" sz="2000" b="1" i="1" dirty="0">
                <a:solidFill>
                  <a:srgbClr val="FF0000"/>
                </a:solidFill>
                <a:latin typeface="Arial" charset="0"/>
              </a:rPr>
              <a:t>современной городской среды</a:t>
            </a:r>
            <a:br>
              <a:rPr lang="ru-RU" altLang="ru-RU" sz="2000" b="1" i="1" dirty="0">
                <a:solidFill>
                  <a:srgbClr val="FF0000"/>
                </a:solidFill>
                <a:latin typeface="Arial" charset="0"/>
              </a:rPr>
            </a:br>
            <a:endParaRPr lang="ru-RU" altLang="ru-RU" sz="2000" b="1" i="1" dirty="0" smtClean="0">
              <a:solidFill>
                <a:srgbClr val="FF0000"/>
              </a:solidFill>
              <a:latin typeface="Arial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371305" y="3032407"/>
            <a:ext cx="164087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 smtClean="0"/>
              <a:t>135 695,6 </a:t>
            </a:r>
          </a:p>
          <a:p>
            <a:r>
              <a:rPr lang="ru-RU" sz="2400" dirty="0" smtClean="0"/>
              <a:t>тыс. руб.</a:t>
            </a:r>
            <a:endParaRPr lang="ru-RU" sz="2400" dirty="0"/>
          </a:p>
        </p:txBody>
      </p:sp>
      <p:sp>
        <p:nvSpPr>
          <p:cNvPr id="6" name="TextBox 5"/>
          <p:cNvSpPr txBox="1"/>
          <p:nvPr/>
        </p:nvSpPr>
        <p:spPr>
          <a:xfrm>
            <a:off x="1691644" y="3863404"/>
            <a:ext cx="1418978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dirty="0" smtClean="0"/>
              <a:t>271 391,1</a:t>
            </a:r>
          </a:p>
          <a:p>
            <a:r>
              <a:rPr lang="ru-RU" sz="2400" dirty="0"/>
              <a:t>т</a:t>
            </a:r>
            <a:r>
              <a:rPr lang="ru-RU" sz="2400" dirty="0" smtClean="0"/>
              <a:t>ыс. руб.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xmlns="" val="24798814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42905" y="97086"/>
            <a:ext cx="6299565" cy="811599"/>
          </a:xfrm>
        </p:spPr>
        <p:txBody>
          <a:bodyPr/>
          <a:lstStyle/>
          <a:p>
            <a:pPr algn="ctr"/>
            <a:r>
              <a:rPr lang="ru-RU" altLang="ru-RU" i="1" dirty="0">
                <a:solidFill>
                  <a:srgbClr val="FF0000"/>
                </a:solidFill>
              </a:rPr>
              <a:t>Распределение субсидии </a:t>
            </a:r>
            <a:r>
              <a:rPr lang="ru-RU" altLang="ru-RU" i="1" dirty="0" smtClean="0">
                <a:solidFill>
                  <a:srgbClr val="FF0000"/>
                </a:solidFill>
              </a:rPr>
              <a:t/>
            </a:r>
            <a:br>
              <a:rPr lang="ru-RU" altLang="ru-RU" i="1" dirty="0" smtClean="0">
                <a:solidFill>
                  <a:srgbClr val="FF0000"/>
                </a:solidFill>
              </a:rPr>
            </a:br>
            <a:r>
              <a:rPr lang="ru-RU" altLang="ru-RU" i="1" dirty="0" smtClean="0">
                <a:solidFill>
                  <a:srgbClr val="FF0000"/>
                </a:solidFill>
              </a:rPr>
              <a:t>на </a:t>
            </a:r>
            <a:r>
              <a:rPr lang="ru-RU" altLang="ru-RU" i="1" dirty="0">
                <a:solidFill>
                  <a:srgbClr val="FF0000"/>
                </a:solidFill>
              </a:rPr>
              <a:t>реализацию проекта по </a:t>
            </a:r>
            <a:r>
              <a:rPr lang="ru-RU" altLang="ru-RU" i="1" dirty="0" smtClean="0">
                <a:solidFill>
                  <a:srgbClr val="FF0000"/>
                </a:solidFill>
              </a:rPr>
              <a:t>созданию</a:t>
            </a:r>
            <a:br>
              <a:rPr lang="ru-RU" altLang="ru-RU" i="1" dirty="0" smtClean="0">
                <a:solidFill>
                  <a:srgbClr val="FF0000"/>
                </a:solidFill>
              </a:rPr>
            </a:br>
            <a:r>
              <a:rPr lang="ru-RU" altLang="ru-RU" i="1" dirty="0" smtClean="0">
                <a:solidFill>
                  <a:srgbClr val="FF0000"/>
                </a:solidFill>
              </a:rPr>
              <a:t>современной городской </a:t>
            </a:r>
            <a:r>
              <a:rPr lang="ru-RU" altLang="ru-RU" i="1" dirty="0">
                <a:solidFill>
                  <a:srgbClr val="FF0000"/>
                </a:solidFill>
              </a:rPr>
              <a:t>среды</a:t>
            </a:r>
            <a:br>
              <a:rPr lang="ru-RU" altLang="ru-RU" i="1" dirty="0">
                <a:solidFill>
                  <a:srgbClr val="FF0000"/>
                </a:solidFill>
              </a:rPr>
            </a:br>
            <a:endParaRPr lang="ru-RU" dirty="0"/>
          </a:p>
        </p:txBody>
      </p:sp>
      <p:graphicFrame>
        <p:nvGraphicFramePr>
          <p:cNvPr id="6" name="Объект 5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xmlns="" val="1838319076"/>
              </p:ext>
            </p:extLst>
          </p:nvPr>
        </p:nvGraphicFramePr>
        <p:xfrm>
          <a:off x="251460" y="1314844"/>
          <a:ext cx="8641080" cy="5446224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4494531"/>
                <a:gridCol w="4146549"/>
              </a:tblGrid>
              <a:tr h="371494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2400" u="none" strike="noStrike" dirty="0" smtClean="0">
                          <a:effectLst/>
                        </a:rPr>
                        <a:t>Распределение </a:t>
                      </a:r>
                      <a:r>
                        <a:rPr lang="ru-RU" sz="2400" u="none" strike="noStrike" dirty="0">
                          <a:effectLst/>
                        </a:rPr>
                        <a:t>финансирования</a:t>
                      </a:r>
                      <a:r>
                        <a:rPr lang="ru-RU" sz="2000" u="none" strike="noStrike" dirty="0">
                          <a:effectLst/>
                        </a:rPr>
                        <a:t>: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40875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1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/3 объема средств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9621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800" b="1" u="none" strike="noStrike" dirty="0" err="1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финансирование</a:t>
                      </a:r>
                      <a:r>
                        <a:rPr lang="ru-RU" sz="1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мероприятий по </a:t>
                      </a:r>
                    </a:p>
                    <a:p>
                      <a:pPr algn="ctr" fontAlgn="ctr"/>
                      <a:r>
                        <a:rPr lang="ru-RU" sz="1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лагоустройству дворовых </a:t>
                      </a:r>
                      <a:r>
                        <a:rPr lang="ru-RU" sz="1800" b="1" u="none" strike="noStrike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рриторий</a:t>
                      </a:r>
                      <a:endParaRPr lang="ru-RU" sz="1800" b="1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8240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инимальный перечень работ по благоустройству дворовых территорий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полнительный перечень работ по благоустройству дворовых территорий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3268017">
                <a:tc>
                  <a:txBody>
                    <a:bodyPr/>
                    <a:lstStyle/>
                    <a:p>
                      <a:pPr marL="285750" indent="-285750" algn="l" fontAlgn="ctr">
                        <a:lnSpc>
                          <a:spcPct val="150000"/>
                        </a:lnSpc>
                        <a:buFont typeface="Wingdings" panose="05000000000000000000" pitchFamily="2" charset="2"/>
                        <a:buChar char="Ø"/>
                      </a:pPr>
                      <a:r>
                        <a:rPr lang="ru-RU" sz="18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монт </a:t>
                      </a:r>
                      <a:r>
                        <a:rPr lang="ru-RU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воровых </a:t>
                      </a:r>
                      <a:r>
                        <a:rPr lang="ru-RU" sz="18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ездов </a:t>
                      </a:r>
                    </a:p>
                    <a:p>
                      <a:pPr marL="285750" indent="-285750" algn="l" fontAlgn="ctr">
                        <a:lnSpc>
                          <a:spcPct val="150000"/>
                        </a:lnSpc>
                        <a:buFont typeface="Wingdings" panose="05000000000000000000" pitchFamily="2" charset="2"/>
                        <a:buChar char="Ø"/>
                      </a:pPr>
                      <a:r>
                        <a:rPr lang="ru-RU" sz="18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еспечение </a:t>
                      </a:r>
                      <a:r>
                        <a:rPr lang="ru-RU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свещение дворовых </a:t>
                      </a:r>
                      <a:r>
                        <a:rPr lang="ru-RU" sz="18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рриторий</a:t>
                      </a:r>
                    </a:p>
                    <a:p>
                      <a:pPr marL="285750" indent="-285750" algn="l" fontAlgn="ctr">
                        <a:lnSpc>
                          <a:spcPct val="150000"/>
                        </a:lnSpc>
                        <a:buFont typeface="Wingdings" panose="05000000000000000000" pitchFamily="2" charset="2"/>
                        <a:buChar char="Ø"/>
                      </a:pPr>
                      <a:r>
                        <a:rPr lang="ru-RU" sz="18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становка скамеек </a:t>
                      </a:r>
                    </a:p>
                    <a:p>
                      <a:pPr marL="285750" indent="-285750" algn="l" fontAlgn="ctr">
                        <a:lnSpc>
                          <a:spcPct val="150000"/>
                        </a:lnSpc>
                        <a:buFont typeface="Wingdings" panose="05000000000000000000" pitchFamily="2" charset="2"/>
                        <a:buChar char="Ø"/>
                      </a:pPr>
                      <a:r>
                        <a:rPr lang="ru-RU" sz="18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становка урн </a:t>
                      </a:r>
                      <a:r>
                        <a:rPr lang="ru-RU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ля </a:t>
                      </a:r>
                      <a:r>
                        <a:rPr lang="ru-RU" sz="18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усора </a:t>
                      </a:r>
                    </a:p>
                    <a:p>
                      <a:pPr marL="285750" indent="-285750" algn="l" fontAlgn="ctr">
                        <a:lnSpc>
                          <a:spcPct val="150000"/>
                        </a:lnSpc>
                        <a:buFont typeface="Wingdings" panose="05000000000000000000" pitchFamily="2" charset="2"/>
                        <a:buChar char="Ø"/>
                      </a:pPr>
                      <a:r>
                        <a:rPr lang="ru-RU" sz="18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ые </a:t>
                      </a:r>
                      <a:r>
                        <a:rPr lang="ru-RU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иды </a:t>
                      </a:r>
                      <a:r>
                        <a:rPr lang="ru-RU" sz="18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бот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marL="285750" indent="-285750" algn="l" fontAlgn="ctr">
                        <a:lnSpc>
                          <a:spcPct val="150000"/>
                        </a:lnSpc>
                        <a:buFont typeface="Wingdings" panose="05000000000000000000" pitchFamily="2" charset="2"/>
                        <a:buChar char="Ø"/>
                      </a:pPr>
                      <a:r>
                        <a:rPr lang="ru-RU" sz="18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орудование </a:t>
                      </a:r>
                      <a:r>
                        <a:rPr lang="ru-RU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етских и (</a:t>
                      </a:r>
                      <a:r>
                        <a:rPr lang="ru-RU" sz="18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ли) спортивных площадок</a:t>
                      </a:r>
                    </a:p>
                    <a:p>
                      <a:pPr marL="285750" indent="-285750" algn="l" fontAlgn="ctr">
                        <a:lnSpc>
                          <a:spcPct val="150000"/>
                        </a:lnSpc>
                        <a:buFont typeface="Wingdings" panose="05000000000000000000" pitchFamily="2" charset="2"/>
                        <a:buChar char="Ø"/>
                      </a:pPr>
                      <a:r>
                        <a:rPr lang="ru-RU" sz="18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орудование </a:t>
                      </a:r>
                      <a:r>
                        <a:rPr lang="ru-RU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втомобильных </a:t>
                      </a:r>
                      <a:r>
                        <a:rPr lang="ru-RU" sz="18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арковок</a:t>
                      </a:r>
                    </a:p>
                    <a:p>
                      <a:pPr marL="285750" indent="-285750" algn="l" fontAlgn="ctr">
                        <a:lnSpc>
                          <a:spcPct val="150000"/>
                        </a:lnSpc>
                        <a:buFont typeface="Wingdings" panose="05000000000000000000" pitchFamily="2" charset="2"/>
                        <a:buChar char="Ø"/>
                      </a:pPr>
                      <a:r>
                        <a:rPr lang="ru-RU" sz="18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зеленение территорий</a:t>
                      </a:r>
                    </a:p>
                    <a:p>
                      <a:pPr marL="285750" indent="-285750" algn="l" fontAlgn="ctr">
                        <a:lnSpc>
                          <a:spcPct val="150000"/>
                        </a:lnSpc>
                        <a:buFont typeface="Wingdings" panose="05000000000000000000" pitchFamily="2" charset="2"/>
                        <a:buChar char="Ø"/>
                      </a:pPr>
                      <a:r>
                        <a:rPr lang="ru-RU" sz="18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граждение </a:t>
                      </a:r>
                      <a:r>
                        <a:rPr lang="ru-RU" sz="1800" u="none" strike="noStrike" dirty="0" err="1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нутридворовых</a:t>
                      </a:r>
                      <a:r>
                        <a:rPr lang="ru-RU" sz="18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территорий</a:t>
                      </a:r>
                    </a:p>
                    <a:p>
                      <a:pPr marL="285750" indent="-285750" algn="l" fontAlgn="ctr">
                        <a:lnSpc>
                          <a:spcPct val="150000"/>
                        </a:lnSpc>
                        <a:buFont typeface="Wingdings" panose="05000000000000000000" pitchFamily="2" charset="2"/>
                        <a:buChar char="Ø"/>
                      </a:pPr>
                      <a:r>
                        <a:rPr lang="ru-RU" sz="18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ые </a:t>
                      </a:r>
                      <a:r>
                        <a:rPr lang="ru-RU" sz="18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иды </a:t>
                      </a:r>
                      <a:r>
                        <a:rPr lang="ru-RU" sz="18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бот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/>
                </a:tc>
              </a:tr>
            </a:tbl>
          </a:graphicData>
        </a:graphic>
      </p:graphicFrame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E3286A-AE25-4FC3-A120-469EE18D7C67}" type="slidenum">
              <a:rPr lang="ru-RU" smtClean="0"/>
              <a:pPr>
                <a:defRPr/>
              </a:pPr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823715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3248865546"/>
              </p:ext>
            </p:extLst>
          </p:nvPr>
        </p:nvGraphicFramePr>
        <p:xfrm>
          <a:off x="215730" y="1268729"/>
          <a:ext cx="8712540" cy="5419576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8712540"/>
              </a:tblGrid>
              <a:tr h="335334"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спределение </a:t>
                      </a:r>
                      <a:r>
                        <a:rPr lang="ru-RU" sz="2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инансирования: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35196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/3 </a:t>
                      </a:r>
                      <a:r>
                        <a:rPr lang="ru-RU" sz="18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ъема средств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60794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u="none" strike="noStrike" dirty="0" err="1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финансирование</a:t>
                      </a:r>
                      <a:r>
                        <a:rPr lang="ru-RU" sz="1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мероприятий по благоустройству </a:t>
                      </a:r>
                    </a:p>
                    <a:p>
                      <a:pPr algn="ctr" fontAlgn="ctr"/>
                      <a:r>
                        <a:rPr lang="ru-RU" sz="18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иболее посещаемой муниципальной территории общего пользования</a:t>
                      </a:r>
                      <a:endParaRPr lang="ru-RU" sz="1800" b="1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4096905">
                <a:tc>
                  <a:txBody>
                    <a:bodyPr/>
                    <a:lstStyle/>
                    <a:p>
                      <a:pPr marL="285750" indent="-285750" algn="l" fontAlgn="auto">
                        <a:buFont typeface="Wingdings" panose="05000000000000000000" pitchFamily="2" charset="2"/>
                        <a:buChar char="Ø"/>
                      </a:pPr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лагоустройство скверов/бульваров;</a:t>
                      </a:r>
                    </a:p>
                    <a:p>
                      <a:pPr marL="285750" indent="-285750" algn="l" fontAlgn="auto">
                        <a:buFont typeface="Wingdings" panose="05000000000000000000" pitchFamily="2" charset="2"/>
                        <a:buChar char="Ø"/>
                      </a:pPr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свещение улицы/сквера/бульвара;</a:t>
                      </a:r>
                    </a:p>
                    <a:p>
                      <a:pPr marL="285750" indent="-285750" algn="l" fontAlgn="auto">
                        <a:buFont typeface="Wingdings" panose="05000000000000000000" pitchFamily="2" charset="2"/>
                        <a:buChar char="Ø"/>
                      </a:pPr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лагоустройство набережной;</a:t>
                      </a:r>
                    </a:p>
                    <a:p>
                      <a:pPr marL="285750" indent="-285750" algn="l" fontAlgn="auto">
                        <a:buFont typeface="Wingdings" panose="05000000000000000000" pitchFamily="2" charset="2"/>
                        <a:buChar char="Ø"/>
                      </a:pPr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конструкция/строительство </a:t>
                      </a:r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ногофункционального общественного спортивного объекта (как правило стадион или детская спортивно-игровая площадка</a:t>
                      </a:r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;</a:t>
                      </a:r>
                    </a:p>
                    <a:p>
                      <a:pPr marL="285750" indent="-285750" algn="l" fontAlgn="auto">
                        <a:buFont typeface="Wingdings" panose="05000000000000000000" pitchFamily="2" charset="2"/>
                        <a:buChar char="Ø"/>
                      </a:pPr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стройство </a:t>
                      </a:r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ли реконструкция детской </a:t>
                      </a:r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ощадки;</a:t>
                      </a:r>
                    </a:p>
                    <a:p>
                      <a:pPr marL="285750" indent="-285750" algn="l" fontAlgn="auto">
                        <a:buFont typeface="Wingdings" panose="05000000000000000000" pitchFamily="2" charset="2"/>
                        <a:buChar char="Ø"/>
                      </a:pPr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лагоустройство </a:t>
                      </a:r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рритории возле общественного здания (как правило Дом культуры или библиотека</a:t>
                      </a:r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;</a:t>
                      </a:r>
                    </a:p>
                    <a:p>
                      <a:pPr marL="285750" indent="-285750" algn="l" fontAlgn="auto">
                        <a:buFont typeface="Wingdings" panose="05000000000000000000" pitchFamily="2" charset="2"/>
                        <a:buChar char="Ø"/>
                      </a:pPr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лагоустройство </a:t>
                      </a:r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рритории вокруг </a:t>
                      </a:r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амятника;</a:t>
                      </a:r>
                    </a:p>
                    <a:p>
                      <a:pPr marL="285750" indent="-285750" algn="l" fontAlgn="auto">
                        <a:buFont typeface="Wingdings" panose="05000000000000000000" pitchFamily="2" charset="2"/>
                        <a:buChar char="Ø"/>
                      </a:pPr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конструкция </a:t>
                      </a:r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шеходных зон (тротуаров) с обустройством зон отдыха (лавочек и пр.) на конкретной </a:t>
                      </a:r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лице;</a:t>
                      </a:r>
                    </a:p>
                    <a:p>
                      <a:pPr marL="285750" indent="-285750" algn="l" fontAlgn="auto">
                        <a:buFont typeface="Wingdings" panose="05000000000000000000" pitchFamily="2" charset="2"/>
                        <a:buChar char="Ø"/>
                      </a:pPr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устройство родников;</a:t>
                      </a:r>
                    </a:p>
                    <a:p>
                      <a:pPr marL="285750" indent="-285750" algn="l" fontAlgn="auto">
                        <a:buFont typeface="Wingdings" panose="05000000000000000000" pitchFamily="2" charset="2"/>
                        <a:buChar char="Ø"/>
                      </a:pPr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лагоустройство </a:t>
                      </a:r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ородских площадей (как правило центральных</a:t>
                      </a:r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;</a:t>
                      </a:r>
                    </a:p>
                    <a:p>
                      <a:pPr marL="285750" indent="-285750" algn="l" fontAlgn="auto">
                        <a:buFont typeface="Wingdings" panose="05000000000000000000" pitchFamily="2" charset="2"/>
                        <a:buChar char="Ø"/>
                      </a:pPr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ые </a:t>
                      </a:r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ъекты</a:t>
                      </a: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BF36FD5-1F5B-4EAB-A7C3-83506AD46B4B}" type="slidenum">
              <a:rPr lang="ru-RU" smtClean="0"/>
              <a:pPr>
                <a:defRPr/>
              </a:pPr>
              <a:t>5</a:t>
            </a:fld>
            <a:endParaRPr lang="ru-RU"/>
          </a:p>
        </p:txBody>
      </p:sp>
      <p:sp>
        <p:nvSpPr>
          <p:cNvPr id="5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altLang="ru-RU" i="1" dirty="0">
                <a:solidFill>
                  <a:srgbClr val="FF0000"/>
                </a:solidFill>
              </a:rPr>
              <a:t>Распределение субсидии </a:t>
            </a:r>
            <a:r>
              <a:rPr lang="ru-RU" altLang="ru-RU" i="1" dirty="0" smtClean="0">
                <a:solidFill>
                  <a:srgbClr val="FF0000"/>
                </a:solidFill>
              </a:rPr>
              <a:t/>
            </a:r>
            <a:br>
              <a:rPr lang="ru-RU" altLang="ru-RU" i="1" dirty="0" smtClean="0">
                <a:solidFill>
                  <a:srgbClr val="FF0000"/>
                </a:solidFill>
              </a:rPr>
            </a:br>
            <a:r>
              <a:rPr lang="ru-RU" altLang="ru-RU" i="1" dirty="0" smtClean="0">
                <a:solidFill>
                  <a:srgbClr val="FF0000"/>
                </a:solidFill>
              </a:rPr>
              <a:t>на </a:t>
            </a:r>
            <a:r>
              <a:rPr lang="ru-RU" altLang="ru-RU" i="1" dirty="0">
                <a:solidFill>
                  <a:srgbClr val="FF0000"/>
                </a:solidFill>
              </a:rPr>
              <a:t>реализацию проекта по созданию </a:t>
            </a:r>
            <a:r>
              <a:rPr lang="ru-RU" altLang="ru-RU" i="1" dirty="0" smtClean="0">
                <a:solidFill>
                  <a:srgbClr val="FF0000"/>
                </a:solidFill>
              </a:rPr>
              <a:t/>
            </a:r>
            <a:br>
              <a:rPr lang="ru-RU" altLang="ru-RU" i="1" dirty="0" smtClean="0">
                <a:solidFill>
                  <a:srgbClr val="FF0000"/>
                </a:solidFill>
              </a:rPr>
            </a:br>
            <a:r>
              <a:rPr lang="ru-RU" altLang="ru-RU" i="1" dirty="0" smtClean="0">
                <a:solidFill>
                  <a:srgbClr val="FF0000"/>
                </a:solidFill>
              </a:rPr>
              <a:t>современной </a:t>
            </a:r>
            <a:r>
              <a:rPr lang="ru-RU" altLang="ru-RU" i="1" dirty="0">
                <a:solidFill>
                  <a:srgbClr val="FF0000"/>
                </a:solidFill>
              </a:rPr>
              <a:t>городской среды</a:t>
            </a:r>
            <a:br>
              <a:rPr lang="ru-RU" altLang="ru-RU" i="1" dirty="0">
                <a:solidFill>
                  <a:srgbClr val="FF0000"/>
                </a:solidFill>
              </a:rPr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872016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44435" y="0"/>
            <a:ext cx="6299565" cy="730320"/>
          </a:xfrm>
        </p:spPr>
        <p:txBody>
          <a:bodyPr/>
          <a:lstStyle/>
          <a:p>
            <a:pPr algn="ctr"/>
            <a:r>
              <a:rPr lang="ru-RU" sz="1000" i="1" dirty="0" smtClean="0">
                <a:solidFill>
                  <a:srgbClr val="FF0000"/>
                </a:solidFill>
              </a:rPr>
              <a:t/>
            </a:r>
            <a:br>
              <a:rPr lang="ru-RU" sz="1000" i="1" dirty="0" smtClean="0">
                <a:solidFill>
                  <a:srgbClr val="FF0000"/>
                </a:solidFill>
              </a:rPr>
            </a:br>
            <a:r>
              <a:rPr lang="ru-RU" sz="2000" i="1" dirty="0" smtClean="0">
                <a:solidFill>
                  <a:srgbClr val="FF0000"/>
                </a:solidFill>
              </a:rPr>
              <a:t>Необходимая подготовительная работа, проводимая органами местного самоуправления</a:t>
            </a:r>
            <a:endParaRPr lang="ru-RU" sz="2000" i="1" dirty="0">
              <a:solidFill>
                <a:srgbClr val="FF0000"/>
              </a:solidFill>
            </a:endParaRPr>
          </a:p>
        </p:txBody>
      </p:sp>
      <p:graphicFrame>
        <p:nvGraphicFramePr>
          <p:cNvPr id="5" name="Объект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188987959"/>
              </p:ext>
            </p:extLst>
          </p:nvPr>
        </p:nvGraphicFramePr>
        <p:xfrm>
          <a:off x="144582" y="1268729"/>
          <a:ext cx="8907461" cy="5506098"/>
        </p:xfrm>
        <a:graphic>
          <a:graphicData uri="http://schemas.openxmlformats.org/drawingml/2006/table">
            <a:tbl>
              <a:tblPr firstRow="1" bandRow="1">
                <a:tableStyleId>{22838BEF-8BB2-4498-84A7-C5851F593DF1}</a:tableStyleId>
              </a:tblPr>
              <a:tblGrid>
                <a:gridCol w="239745"/>
                <a:gridCol w="7428078"/>
                <a:gridCol w="1239638"/>
              </a:tblGrid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</a:t>
                      </a:r>
                      <a:endParaRPr lang="ru-RU" sz="15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роприятие</a:t>
                      </a:r>
                      <a:endParaRPr lang="ru-RU" sz="15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рок</a:t>
                      </a:r>
                      <a:endParaRPr lang="ru-RU" sz="15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4667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пределить ответственное должностное лицо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за реализацию проекта </a:t>
                      </a:r>
                      <a:r>
                        <a:rPr lang="ru-RU" sz="1200" b="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 формированию современной городской среды на территории муниципального образования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до 03.02.2017</a:t>
                      </a:r>
                      <a:endParaRPr lang="ru-RU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67508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разовать общественную комиссию</a:t>
                      </a:r>
                      <a:r>
                        <a:rPr lang="ru-RU" sz="1200" b="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из представителей органов местного самоуправления, политических партий и движений, общественных организаций, иных лиц для организации проведения комиссионной оценки предложений заинтересованных лиц, а также для осуществления контроля за реализацией программы после ее утверждения в установленном порядке.</a:t>
                      </a:r>
                      <a:endParaRPr lang="ru-RU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до 08.02.2017</a:t>
                      </a:r>
                      <a:endParaRPr lang="ru-RU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89681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вести подготовительную работу</a:t>
                      </a:r>
                      <a:r>
                        <a:rPr lang="ru-RU" sz="1200" b="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с лицами, управляющими многоквартирными домами, советами многоквартирных домов, общественными активистами по </a:t>
                      </a:r>
                      <a:r>
                        <a:rPr lang="ru-RU" sz="12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пределению количества и перечня дворовых территорий </a:t>
                      </a:r>
                      <a:r>
                        <a:rPr lang="ru-RU" sz="1200" b="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длагаемых к включению в муниципальную программу формирования современной городской среды.</a:t>
                      </a:r>
                      <a:endParaRPr lang="ru-RU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до 09.02.2017</a:t>
                      </a:r>
                    </a:p>
                  </a:txBody>
                  <a:tcPr marL="9525" marR="9525" marT="9525" marB="0" anchor="ctr"/>
                </a:tc>
              </a:tr>
              <a:tr h="36429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формировать</a:t>
                      </a:r>
                      <a:r>
                        <a:rPr lang="ru-RU" sz="1200" b="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возможный </a:t>
                      </a:r>
                      <a:r>
                        <a:rPr lang="ru-RU" sz="12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ечень муниципальных территорий общего пользования</a:t>
                      </a:r>
                      <a:r>
                        <a:rPr lang="ru-RU" sz="1200" b="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в целях организации общественного обсуждения).</a:t>
                      </a:r>
                      <a:endParaRPr lang="ru-RU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до 09.02.2017</a:t>
                      </a:r>
                    </a:p>
                  </a:txBody>
                  <a:tcPr marL="9525" marR="9525" marT="9525" marB="0" anchor="ctr"/>
                </a:tc>
              </a:tr>
              <a:tr h="64814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работать с заинтересованными предприятиями и организациями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опрос</a:t>
                      </a:r>
                      <a:r>
                        <a:rPr lang="ru-RU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финансового участия в реализации проекта </a:t>
                      </a:r>
                      <a:r>
                        <a:rPr lang="ru-RU" sz="1200" b="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 формированию современной городской среды на территории муниципального образования.</a:t>
                      </a:r>
                      <a:endParaRPr lang="ru-RU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до 09.02.2017</a:t>
                      </a:r>
                    </a:p>
                  </a:txBody>
                  <a:tcPr marL="9525" marR="9525" marT="9525" marB="0" anchor="ctr"/>
                </a:tc>
              </a:tr>
              <a:tr h="4533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дготовить </a:t>
                      </a:r>
                      <a:r>
                        <a:rPr lang="ru-RU" sz="12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дложения о наиболее целесообразных видах работ</a:t>
                      </a:r>
                      <a:r>
                        <a:rPr lang="ru-RU" sz="1200" b="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предлагаемых к включению в минимальный и дополнительный перечни работ.</a:t>
                      </a:r>
                      <a:endParaRPr lang="ru-RU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до 09.02.2017</a:t>
                      </a:r>
                      <a:endParaRPr lang="ru-RU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67508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2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пределить объем </a:t>
                      </a:r>
                      <a:r>
                        <a:rPr lang="ru-RU" sz="12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редств муниципального бюджета</a:t>
                      </a:r>
                      <a:r>
                        <a:rPr lang="ru-RU" sz="1200" b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ru-RU" sz="1200" b="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дполагаемых </a:t>
                      </a:r>
                      <a:r>
                        <a:rPr lang="ru-RU" sz="1200" b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 </a:t>
                      </a:r>
                      <a:r>
                        <a:rPr lang="ru-RU" sz="1200" b="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финансированию</a:t>
                      </a:r>
                      <a:r>
                        <a:rPr lang="ru-RU" sz="1200" b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мероприятий в рамках реализации муниципальной программы формирования современной городской </a:t>
                      </a:r>
                      <a:r>
                        <a:rPr lang="ru-RU" sz="1200" b="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реды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до 15.02.2017</a:t>
                      </a:r>
                      <a:endParaRPr lang="ru-RU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4533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дготовить предложения о </a:t>
                      </a:r>
                      <a:r>
                        <a:rPr lang="ru-RU" sz="1200" b="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дполагаемой </a:t>
                      </a:r>
                      <a:r>
                        <a:rPr lang="ru-RU" sz="12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орме и минимальной доле финансового и (или) трудового участия </a:t>
                      </a:r>
                      <a:r>
                        <a:rPr lang="ru-RU" sz="1200" b="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интересованных лиц, организаций в выполнении минимального и дополнительного перечней работ по благоустройству дворовых территорий.</a:t>
                      </a:r>
                      <a:endParaRPr lang="ru-RU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до 15.02.2017</a:t>
                      </a:r>
                      <a:endParaRPr lang="ru-RU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4533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2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пределить возможные</a:t>
                      </a:r>
                      <a:r>
                        <a:rPr lang="ru-RU" sz="1200" b="1" u="none" strike="noStrike" baseline="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ути </a:t>
                      </a:r>
                      <a:r>
                        <a:rPr lang="ru-RU" sz="1200" b="1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формирования </a:t>
                      </a:r>
                      <a:r>
                        <a:rPr lang="ru-RU" sz="1200" b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раждан, организаций о реализуемом проекте по формированию </a:t>
                      </a:r>
                      <a:r>
                        <a:rPr lang="ru-RU" sz="1200" b="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временной </a:t>
                      </a:r>
                      <a:r>
                        <a:rPr lang="ru-RU" sz="1200" b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ородской </a:t>
                      </a:r>
                      <a:r>
                        <a:rPr lang="ru-RU" sz="1200" b="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реды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до 15.02.2017</a:t>
                      </a: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BF36FD5-1F5B-4EAB-A7C3-83506AD46B4B}" type="slidenum">
              <a:rPr lang="ru-RU" smtClean="0"/>
              <a:pPr>
                <a:defRPr/>
              </a:pPr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9699818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Номер слайда 3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0BBC7687-EB92-4841-B3FF-AF16C3263C85}" type="slidenum">
              <a:rPr lang="ru-RU" altLang="ru-RU" smtClean="0">
                <a:solidFill>
                  <a:srgbClr val="898989"/>
                </a:solidFill>
                <a:latin typeface="Arial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ru-RU" altLang="ru-RU" smtClean="0">
              <a:solidFill>
                <a:srgbClr val="898989"/>
              </a:solidFill>
              <a:latin typeface="Arial" charset="0"/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-15875" y="1179513"/>
            <a:ext cx="9175750" cy="0"/>
          </a:xfrm>
          <a:prstGeom prst="line">
            <a:avLst/>
          </a:prstGeom>
          <a:ln w="317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36" name="TextBox 10"/>
          <p:cNvSpPr txBox="1">
            <a:spLocks noChangeArrowheads="1"/>
          </p:cNvSpPr>
          <p:nvPr/>
        </p:nvSpPr>
        <p:spPr bwMode="auto">
          <a:xfrm>
            <a:off x="465138" y="1997839"/>
            <a:ext cx="8278812" cy="2862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indent="534988" algn="ctr"/>
            <a:r>
              <a:rPr lang="ru-RU" sz="3600" b="1" dirty="0" smtClean="0">
                <a:solidFill>
                  <a:srgbClr val="000000"/>
                </a:solidFill>
              </a:rPr>
              <a:t>О </a:t>
            </a:r>
            <a:r>
              <a:rPr lang="ru-RU" sz="3600" b="1" dirty="0">
                <a:solidFill>
                  <a:srgbClr val="000000"/>
                </a:solidFill>
              </a:rPr>
              <a:t>ходе подготовки муниципальных образований Ярославской области к реализации проекта по созданию современной городской </a:t>
            </a:r>
            <a:r>
              <a:rPr lang="ru-RU" sz="3600" b="1" dirty="0" smtClean="0">
                <a:solidFill>
                  <a:srgbClr val="000000"/>
                </a:solidFill>
              </a:rPr>
              <a:t>среды</a:t>
            </a:r>
            <a:r>
              <a:rPr lang="ru-RU" sz="3600" b="1" dirty="0">
                <a:solidFill>
                  <a:srgbClr val="000000"/>
                </a:solidFill>
              </a:rPr>
              <a:t> </a:t>
            </a:r>
            <a:endParaRPr lang="ru-RU" sz="3600" b="1" dirty="0" smtClean="0">
              <a:solidFill>
                <a:srgbClr val="000000"/>
              </a:solidFill>
            </a:endParaRPr>
          </a:p>
          <a:p>
            <a:pPr indent="534988" algn="ctr"/>
            <a:r>
              <a:rPr lang="ru-RU" sz="3600" b="1" dirty="0" smtClean="0">
                <a:solidFill>
                  <a:srgbClr val="000000"/>
                </a:solidFill>
              </a:rPr>
              <a:t>на 2017 год.</a:t>
            </a:r>
            <a:endParaRPr lang="ru-RU" sz="3600" b="1" dirty="0">
              <a:solidFill>
                <a:srgbClr val="000000"/>
              </a:solidFill>
            </a:endParaRPr>
          </a:p>
        </p:txBody>
      </p:sp>
      <p:sp>
        <p:nvSpPr>
          <p:cNvPr id="5" name="Заголовок 1"/>
          <p:cNvSpPr txBox="1">
            <a:spLocks/>
          </p:cNvSpPr>
          <p:nvPr/>
        </p:nvSpPr>
        <p:spPr bwMode="auto">
          <a:xfrm>
            <a:off x="3172417" y="233637"/>
            <a:ext cx="5855570" cy="5847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 kern="1200">
                <a:solidFill>
                  <a:schemeClr val="bg1"/>
                </a:solidFill>
                <a:latin typeface="Arial" charset="0"/>
                <a:ea typeface="+mj-ea"/>
                <a:cs typeface="Arial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defRPr b="1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marL="12700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3200" i="1" dirty="0" smtClean="0">
                <a:solidFill>
                  <a:srgbClr val="FF0000"/>
                </a:solidFill>
              </a:rPr>
              <a:t>Приложение</a:t>
            </a:r>
          </a:p>
        </p:txBody>
      </p:sp>
    </p:spTree>
    <p:extLst>
      <p:ext uri="{BB962C8B-B14F-4D97-AF65-F5344CB8AC3E}">
        <p14:creationId xmlns:p14="http://schemas.microsoft.com/office/powerpoint/2010/main" xmlns="" val="2431111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Номер слайда 3"/>
          <p:cNvSpPr>
            <a:spLocks noGrp="1"/>
          </p:cNvSpPr>
          <p:nvPr>
            <p:ph type="sldNum" sz="quarter" idx="10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0BBC7687-EB92-4841-B3FF-AF16C3263C85}" type="slidenum">
              <a:rPr lang="ru-RU" altLang="ru-RU" smtClean="0">
                <a:solidFill>
                  <a:srgbClr val="898989"/>
                </a:solidFill>
                <a:latin typeface="Arial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ru-RU" altLang="ru-RU" smtClean="0">
              <a:solidFill>
                <a:srgbClr val="898989"/>
              </a:solidFill>
              <a:latin typeface="Arial" charset="0"/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-15875" y="1179513"/>
            <a:ext cx="9175750" cy="0"/>
          </a:xfrm>
          <a:prstGeom prst="line">
            <a:avLst/>
          </a:prstGeom>
          <a:ln w="317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3332514" y="92598"/>
            <a:ext cx="576071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altLang="ru-RU" sz="2000" b="1" i="1" dirty="0" smtClean="0">
                <a:solidFill>
                  <a:srgbClr val="FF0000"/>
                </a:solidFill>
                <a:latin typeface="Arial" charset="0"/>
              </a:rPr>
              <a:t>Задачи органов местного самоуправления по созданию комфортной городской среды на 2017 год</a:t>
            </a: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600516" y="1268730"/>
            <a:ext cx="6150682" cy="544713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just">
              <a:lnSpc>
                <a:spcPts val="1500"/>
              </a:lnSpc>
            </a:pPr>
            <a:r>
              <a:rPr lang="ru-RU" sz="1600" dirty="0" smtClean="0"/>
              <a:t>1. Разработать и опубликовать для общественного обсуждения проект МП на 2017 год. </a:t>
            </a:r>
            <a:endParaRPr lang="ru-RU" sz="1600" b="1" i="1" dirty="0"/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611505" y="1901131"/>
            <a:ext cx="6139692" cy="1080136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r>
              <a:rPr lang="ru-RU" sz="1600" dirty="0" smtClean="0"/>
              <a:t>2. Разработать, утвердить и опубликовать порядок и сроки представления, рассмотрения и оценки предложений заинтересованных лиц о включении дворовой территории в МП на 2017 год. </a:t>
            </a:r>
            <a:endParaRPr lang="ru-RU" sz="1600" b="1" i="1" dirty="0"/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600520" y="3068955"/>
            <a:ext cx="6120765" cy="720090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just"/>
            <a:r>
              <a:rPr lang="ru-RU" sz="1600" dirty="0" smtClean="0"/>
              <a:t>3. Разработать, утвердить и опубликовать порядок общественного обсуждения проекта МП на 2017 год, предусматривающий, формирование общественной комиссии.</a:t>
            </a: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611505" y="3864899"/>
            <a:ext cx="6120765" cy="1084739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r>
              <a:rPr lang="ru-RU" sz="1600" dirty="0" smtClean="0"/>
              <a:t>4. Разработать, утвердить и опубликовать порядок и сроки представления, рассмотрения и оценки предложений граждан, организаций о включении в МП на 2017 год наиболее посещаемой муниципальной территории. </a:t>
            </a:r>
            <a:endParaRPr lang="ru-RU" sz="1600" b="1" i="1" dirty="0"/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611505" y="5031760"/>
            <a:ext cx="6120765" cy="360045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r>
              <a:rPr lang="ru-RU" sz="1600" dirty="0" smtClean="0"/>
              <a:t> 5. Утвердить МП на 2017 год. </a:t>
            </a:r>
            <a:endParaRPr lang="ru-RU" sz="1600" dirty="0"/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600515" y="5452739"/>
            <a:ext cx="6120765" cy="720090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r>
              <a:rPr lang="ru-RU" sz="1600" dirty="0" smtClean="0"/>
              <a:t>6. Подготовить и утвердить дизайн-проект благоустройства каждой дворовой территории и дизайн-проект благоустройства наиболее посещаемой муниципальной территории.</a:t>
            </a:r>
            <a:endParaRPr lang="ru-RU" sz="1600" b="1" i="1" dirty="0"/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611505" y="6251650"/>
            <a:ext cx="6120765" cy="360045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r>
              <a:rPr lang="ru-RU" sz="1600" dirty="0" smtClean="0"/>
              <a:t>7. Завершить реализацию МП на 2017 год. </a:t>
            </a:r>
            <a:endParaRPr lang="ru-RU" sz="1600" b="1" i="1" dirty="0"/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6871737" y="1268730"/>
            <a:ext cx="1584000" cy="360045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ts val="1500"/>
              </a:lnSpc>
            </a:pPr>
            <a:r>
              <a:rPr lang="ru-RU" sz="1600" b="1" i="1" dirty="0" smtClean="0"/>
              <a:t>До 01 апреля</a:t>
            </a:r>
            <a:endParaRPr lang="ru-RU" sz="1600" b="1" i="1" dirty="0"/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6888357" y="1901131"/>
            <a:ext cx="1584000" cy="360000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ts val="1500"/>
              </a:lnSpc>
            </a:pPr>
            <a:r>
              <a:rPr lang="ru-RU" sz="1600" b="1" i="1" dirty="0" smtClean="0"/>
              <a:t>До 01 апреля</a:t>
            </a:r>
            <a:endParaRPr lang="ru-RU" sz="1600" b="1" i="1" dirty="0"/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6888356" y="5032240"/>
            <a:ext cx="1585183" cy="360045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ts val="1500"/>
              </a:lnSpc>
            </a:pPr>
            <a:r>
              <a:rPr lang="ru-RU" sz="1600" b="1" i="1" dirty="0" smtClean="0"/>
              <a:t>До 25 мая</a:t>
            </a:r>
            <a:endParaRPr lang="ru-RU" sz="1600" b="1" i="1" dirty="0"/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6888356" y="5452739"/>
            <a:ext cx="1585183" cy="360000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ts val="1500"/>
              </a:lnSpc>
            </a:pPr>
            <a:r>
              <a:rPr lang="ru-RU" sz="1600" b="1" i="1" dirty="0" smtClean="0"/>
              <a:t>До 01 июля</a:t>
            </a:r>
            <a:endParaRPr lang="ru-RU" sz="1600" b="1" i="1" dirty="0"/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6888356" y="6245004"/>
            <a:ext cx="1585184" cy="360044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ts val="1500"/>
              </a:lnSpc>
            </a:pPr>
            <a:r>
              <a:rPr lang="ru-RU" sz="1600" b="1" i="1" dirty="0" smtClean="0"/>
              <a:t>До 31 декабря</a:t>
            </a:r>
            <a:endParaRPr lang="ru-RU" sz="1600" b="1" i="1" dirty="0"/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6888357" y="3068955"/>
            <a:ext cx="1585182" cy="360045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ts val="1500"/>
              </a:lnSpc>
            </a:pPr>
            <a:r>
              <a:rPr lang="ru-RU" sz="1600" b="1" i="1" dirty="0" smtClean="0"/>
              <a:t>До 01 апреля</a:t>
            </a:r>
            <a:endParaRPr lang="ru-RU" sz="1600" b="1" i="1" dirty="0"/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6888357" y="3869503"/>
            <a:ext cx="1589488" cy="360000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ts val="1500"/>
              </a:lnSpc>
            </a:pPr>
            <a:r>
              <a:rPr lang="ru-RU" sz="1600" b="1" i="1" dirty="0" smtClean="0"/>
              <a:t>До 01 апреля</a:t>
            </a:r>
            <a:endParaRPr lang="ru-RU" sz="1600" b="1" i="1" dirty="0"/>
          </a:p>
        </p:txBody>
      </p:sp>
    </p:spTree>
    <p:extLst>
      <p:ext uri="{BB962C8B-B14F-4D97-AF65-F5344CB8AC3E}">
        <p14:creationId xmlns:p14="http://schemas.microsoft.com/office/powerpoint/2010/main" xmlns="" val="5119423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D1C3BA1-73CA-4977-9CB5-E2395BB8E201}" type="slidenum">
              <a:rPr lang="ru-RU" smtClean="0"/>
              <a:pPr>
                <a:defRPr/>
              </a:pPr>
              <a:t>9</a:t>
            </a:fld>
            <a:endParaRPr lang="ru-RU"/>
          </a:p>
        </p:txBody>
      </p:sp>
      <p:sp>
        <p:nvSpPr>
          <p:cNvPr id="3" name="Заголовок 1"/>
          <p:cNvSpPr txBox="1">
            <a:spLocks/>
          </p:cNvSpPr>
          <p:nvPr/>
        </p:nvSpPr>
        <p:spPr bwMode="auto">
          <a:xfrm>
            <a:off x="3171825" y="163513"/>
            <a:ext cx="5856288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27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>
              <a:buFont typeface="Wingdings" pitchFamily="2" charset="2"/>
              <a:buNone/>
            </a:pPr>
            <a:r>
              <a:rPr lang="ru-RU" altLang="ru-RU" sz="2400" b="1" i="1" dirty="0" smtClean="0">
                <a:solidFill>
                  <a:srgbClr val="FF0000"/>
                </a:solidFill>
                <a:latin typeface="+mn-lt"/>
              </a:rPr>
              <a:t>Требования к содержанию муниципальной программы</a:t>
            </a:r>
            <a:endParaRPr lang="ru-RU" altLang="ru-RU" sz="2400" b="1" i="1" dirty="0">
              <a:solidFill>
                <a:srgbClr val="FF0000"/>
              </a:solidFill>
              <a:latin typeface="+mn-lt"/>
            </a:endParaRP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992998181"/>
              </p:ext>
            </p:extLst>
          </p:nvPr>
        </p:nvGraphicFramePr>
        <p:xfrm>
          <a:off x="251461" y="1268730"/>
          <a:ext cx="8677036" cy="5415364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396000"/>
                <a:gridCol w="8281036"/>
              </a:tblGrid>
              <a:tr h="360045">
                <a:tc>
                  <a:txBody>
                    <a:bodyPr/>
                    <a:lstStyle/>
                    <a:p>
                      <a:pPr algn="ctr"/>
                      <a:r>
                        <a:rPr lang="ru-RU" sz="1480" dirty="0" smtClean="0"/>
                        <a:t>№</a:t>
                      </a:r>
                      <a:endParaRPr lang="ru-RU" sz="1480" dirty="0">
                        <a:latin typeface="+mj-lt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80" dirty="0" smtClean="0">
                          <a:latin typeface="+mj-lt"/>
                          <a:cs typeface="Times New Roman" pitchFamily="18" charset="0"/>
                        </a:rPr>
                        <a:t>Муниципальная программа должна</a:t>
                      </a:r>
                      <a:r>
                        <a:rPr lang="ru-RU" sz="1480" baseline="0" dirty="0" smtClean="0">
                          <a:latin typeface="+mj-lt"/>
                          <a:cs typeface="Times New Roman" pitchFamily="18" charset="0"/>
                        </a:rPr>
                        <a:t> содержать</a:t>
                      </a:r>
                      <a:endParaRPr lang="ru-RU" sz="1480" dirty="0">
                        <a:latin typeface="+mj-lt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553940">
                <a:tc>
                  <a:txBody>
                    <a:bodyPr/>
                    <a:lstStyle/>
                    <a:p>
                      <a:pPr algn="ctr"/>
                      <a:r>
                        <a:rPr lang="ru-RU" sz="1480" b="1" dirty="0" smtClean="0"/>
                        <a:t>1</a:t>
                      </a:r>
                      <a:endParaRPr lang="ru-RU" sz="1480" b="1" dirty="0">
                        <a:latin typeface="+mj-lt"/>
                        <a:cs typeface="Times New Roman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45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 менее одной наиболее посещаемой муниципальной территории общего пользования населенного пункта (центральная улица, площадь, набережная и другие), подлежащей благоустройству;</a:t>
                      </a:r>
                      <a:endParaRPr lang="ru-RU" sz="1450" dirty="0">
                        <a:latin typeface="+mj-lt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553940">
                <a:tc>
                  <a:txBody>
                    <a:bodyPr/>
                    <a:lstStyle/>
                    <a:p>
                      <a:pPr algn="ctr"/>
                      <a:r>
                        <a:rPr lang="ru-RU" sz="1480" b="1" dirty="0" smtClean="0"/>
                        <a:t>2</a:t>
                      </a:r>
                      <a:endParaRPr lang="ru-RU" sz="1480" b="1" dirty="0">
                        <a:latin typeface="+mj-lt"/>
                        <a:cs typeface="Times New Roman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5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дресный перечень многоквартирных домов дворовые территории которых были отобраны в соответствие с положениями настоящий Правил и которые подлежат благоустройству в 2017 году; </a:t>
                      </a:r>
                      <a:endParaRPr lang="ru-RU" sz="1450" kern="1200" dirty="0" smtClean="0">
                        <a:solidFill>
                          <a:schemeClr val="dk1"/>
                        </a:solidFill>
                        <a:latin typeface="+mj-lt"/>
                        <a:ea typeface="+mn-ea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553940">
                <a:tc>
                  <a:txBody>
                    <a:bodyPr/>
                    <a:lstStyle/>
                    <a:p>
                      <a:pPr algn="ctr"/>
                      <a:r>
                        <a:rPr lang="ru-RU" sz="1480" b="1" dirty="0" smtClean="0"/>
                        <a:t>3</a:t>
                      </a:r>
                      <a:endParaRPr lang="ru-RU" sz="1480" b="1" dirty="0">
                        <a:latin typeface="+mj-lt"/>
                        <a:cs typeface="Times New Roman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45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бъем средств муниципального бюджета (с учетом субсидии), направляемых на финансирование мероприятий программы;</a:t>
                      </a:r>
                      <a:endParaRPr lang="ru-RU" sz="1450" dirty="0">
                        <a:latin typeface="+mn-lt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284294">
                <a:tc>
                  <a:txBody>
                    <a:bodyPr/>
                    <a:lstStyle/>
                    <a:p>
                      <a:pPr algn="ctr"/>
                      <a:r>
                        <a:rPr lang="ru-RU" sz="1480" b="1" dirty="0" smtClean="0"/>
                        <a:t>4</a:t>
                      </a:r>
                      <a:endParaRPr lang="ru-RU" sz="1480" b="1" dirty="0">
                        <a:latin typeface="+mj-lt"/>
                        <a:cs typeface="Times New Roman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45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инимальный перечень работ по благоустройству дворовых территорий многоквартирных домов;</a:t>
                      </a:r>
                      <a:endParaRPr lang="ru-RU" sz="1450" dirty="0">
                        <a:latin typeface="+mn-lt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27347">
                <a:tc>
                  <a:txBody>
                    <a:bodyPr/>
                    <a:lstStyle/>
                    <a:p>
                      <a:pPr algn="ctr"/>
                      <a:r>
                        <a:rPr lang="ru-RU" sz="1480" b="1" dirty="0" smtClean="0"/>
                        <a:t>5</a:t>
                      </a:r>
                      <a:endParaRPr lang="ru-RU" sz="1480" b="1" dirty="0">
                        <a:latin typeface="+mj-lt"/>
                        <a:cs typeface="Times New Roman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45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полнительный перечень работ по благоустройству дворовых территорий многоквартирных домов;</a:t>
                      </a:r>
                      <a:endParaRPr lang="ru-RU" sz="1450" dirty="0">
                        <a:latin typeface="+mn-lt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51237">
                <a:tc>
                  <a:txBody>
                    <a:bodyPr/>
                    <a:lstStyle/>
                    <a:p>
                      <a:pPr algn="ctr"/>
                      <a:r>
                        <a:rPr lang="ru-RU" sz="1480" b="1" dirty="0" smtClean="0"/>
                        <a:t>6</a:t>
                      </a:r>
                      <a:endParaRPr lang="ru-RU" sz="1480" b="1" dirty="0">
                        <a:latin typeface="+mj-lt"/>
                        <a:cs typeface="Times New Roman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5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Форму и минимальную долю финансового и (или) трудового участия заинтересованных лиц  в выполнении минимального и дополнительного перечней работ по благоустройству; </a:t>
                      </a:r>
                      <a:endParaRPr lang="ru-RU" sz="145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553940">
                <a:tc>
                  <a:txBody>
                    <a:bodyPr/>
                    <a:lstStyle/>
                    <a:p>
                      <a:pPr algn="ctr"/>
                      <a:r>
                        <a:rPr lang="ru-RU" sz="1480" b="1" dirty="0" smtClean="0"/>
                        <a:t>7</a:t>
                      </a:r>
                      <a:endParaRPr lang="ru-RU" sz="1480" b="1" dirty="0">
                        <a:latin typeface="+mj-lt"/>
                        <a:cs typeface="Times New Roman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45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ормативную стоимость работ по благоустройству дворовых территорий, входящих в состав минимального перечня таких работ;</a:t>
                      </a:r>
                      <a:endParaRPr lang="ru-RU" sz="1450" dirty="0">
                        <a:latin typeface="+mn-lt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553940">
                <a:tc>
                  <a:txBody>
                    <a:bodyPr/>
                    <a:lstStyle/>
                    <a:p>
                      <a:pPr algn="ctr"/>
                      <a:r>
                        <a:rPr lang="ru-RU" sz="1480" b="1" dirty="0" smtClean="0"/>
                        <a:t>8</a:t>
                      </a:r>
                      <a:endParaRPr lang="ru-RU" sz="1480" b="1" dirty="0">
                        <a:latin typeface="+mj-lt"/>
                        <a:cs typeface="Times New Roman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45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рядок включения предложений заинтересованных лиц о включении дворовой территории в муниципальную программу формирования современной городской среды на 2017 год;</a:t>
                      </a:r>
                      <a:endParaRPr lang="ru-RU" sz="1450" dirty="0">
                        <a:latin typeface="+mn-lt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553940">
                <a:tc>
                  <a:txBody>
                    <a:bodyPr/>
                    <a:lstStyle/>
                    <a:p>
                      <a:pPr algn="ctr"/>
                      <a:r>
                        <a:rPr lang="ru-RU" sz="1480" b="1" dirty="0" smtClean="0">
                          <a:latin typeface="+mj-lt"/>
                          <a:cs typeface="Times New Roman" pitchFamily="18" charset="0"/>
                        </a:rPr>
                        <a:t>9</a:t>
                      </a:r>
                      <a:endParaRPr lang="ru-RU" sz="1480" b="1" dirty="0">
                        <a:latin typeface="+mj-lt"/>
                        <a:cs typeface="Times New Roman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45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рядок разработки, обсуждения с заинтересованными лицами и утверждения дизайн-проектов благоустройства дворовых территорий;</a:t>
                      </a:r>
                      <a:endParaRPr lang="ru-RU" sz="1450" dirty="0">
                        <a:latin typeface="14,8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553940">
                <a:tc>
                  <a:txBody>
                    <a:bodyPr/>
                    <a:lstStyle/>
                    <a:p>
                      <a:pPr algn="ctr"/>
                      <a:r>
                        <a:rPr lang="ru-RU" sz="1480" b="1" dirty="0" smtClean="0">
                          <a:latin typeface="+mj-lt"/>
                          <a:cs typeface="Times New Roman" pitchFamily="18" charset="0"/>
                        </a:rPr>
                        <a:t>10</a:t>
                      </a:r>
                      <a:endParaRPr lang="ru-RU" sz="1480" b="1" dirty="0">
                        <a:latin typeface="+mj-lt"/>
                        <a:cs typeface="Times New Roman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45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Условие о проведении работ по благоустройству в соответствие с требованиями обеспечения доступности для маломобильных групп населения;</a:t>
                      </a:r>
                      <a:endParaRPr lang="ru-RU" sz="1450" dirty="0">
                        <a:latin typeface="14,8"/>
                        <a:cs typeface="Times New Roman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0896192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3KRbq9EEylPcQKRocVb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3KRbq9EEylPcQKRocVb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3KRbq9EEylPcQKRocVb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3KRbq9EEylPcQKRocVb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3KRbq9EEylPcQKRocVb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3KRbq9EEylPcQKRocVb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3KRbq9EEylPcQKRocVb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3KRbq9EEylPcQKRocVb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3KRbq9EEylPcQKRocVb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3KRbq9EEylPcQKRocVb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3KRbq9EEylPcQKRocVb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3KRbq9EEylPcQKRocVb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3KRbq9EEylPcQKRocVb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3KRbq9EEylPcQKRocVb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050</TotalTime>
  <Words>1071</Words>
  <Application>Microsoft Office PowerPoint</Application>
  <PresentationFormat>Экран (4:3)</PresentationFormat>
  <Paragraphs>235</Paragraphs>
  <Slides>9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1" baseType="lpstr">
      <vt:lpstr>Тема Office</vt:lpstr>
      <vt:lpstr>think-cell Slide</vt:lpstr>
      <vt:lpstr>Слайд 1</vt:lpstr>
      <vt:lpstr>Распределение субсидий  муниципальным образованиям  Ярославской области (от  численности населения) </vt:lpstr>
      <vt:lpstr>Слайд 3</vt:lpstr>
      <vt:lpstr>Распределение субсидии  на реализацию проекта по созданию современной городской среды </vt:lpstr>
      <vt:lpstr>Распределение субсидии  на реализацию проекта по созданию  современной городской среды </vt:lpstr>
      <vt:lpstr> Необходимая подготовительная работа, проводимая органами местного самоуправления</vt:lpstr>
      <vt:lpstr>Слайд 7</vt:lpstr>
      <vt:lpstr>Слайд 8</vt:lpstr>
      <vt:lpstr>Слайд 9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dotlovaem@yarregion.ru</dc:creator>
  <cp:lastModifiedBy>Вика</cp:lastModifiedBy>
  <cp:revision>1003</cp:revision>
  <cp:lastPrinted>2017-02-01T18:43:19Z</cp:lastPrinted>
  <dcterms:created xsi:type="dcterms:W3CDTF">2016-05-12T12:13:05Z</dcterms:created>
  <dcterms:modified xsi:type="dcterms:W3CDTF">2017-03-13T08:52:02Z</dcterms:modified>
</cp:coreProperties>
</file>